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1"/>
  </p:notesMasterIdLst>
  <p:handoutMasterIdLst>
    <p:handoutMasterId r:id="rId12"/>
  </p:handoutMasterIdLst>
  <p:sldIdLst>
    <p:sldId id="290" r:id="rId5"/>
    <p:sldId id="2256" r:id="rId6"/>
    <p:sldId id="2234" r:id="rId7"/>
    <p:sldId id="2249" r:id="rId8"/>
    <p:sldId id="2263" r:id="rId9"/>
    <p:sldId id="2264" r:id="rId10"/>
  </p:sldIdLst>
  <p:sldSz cx="12192000" cy="6858000"/>
  <p:notesSz cx="6797675" cy="9926638"/>
  <p:custDataLst>
    <p:tags r:id="rId1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1A0256-C263-18A6-CC62-8610B181C384}" name="Nikki Spuijbroek" initials="NS" userId="S::0116256@zadkine.nl::35a72c9f-edb1-48d7-a9d8-12634795ffc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ien Kinnegin" initials="RK" lastIdx="1" clrIdx="0">
    <p:extLst>
      <p:ext uri="{19B8F6BF-5375-455C-9EA6-DF929625EA0E}">
        <p15:presenceInfo xmlns:p15="http://schemas.microsoft.com/office/powerpoint/2012/main" userId="S::0103640@zadkine.nl::c754b903-0616-43cd-8235-af7bf3dc37ab" providerId="AD"/>
      </p:ext>
    </p:extLst>
  </p:cmAuthor>
  <p:cmAuthor id="2" name="Bianca Kloos" initials="BK" lastIdx="1" clrIdx="1">
    <p:extLst>
      <p:ext uri="{19B8F6BF-5375-455C-9EA6-DF929625EA0E}">
        <p15:presenceInfo xmlns:p15="http://schemas.microsoft.com/office/powerpoint/2012/main" userId="S::0114422@zadkine.nl::1ed430ae-f8fc-464c-8ad4-b70e48b1e3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D50290"/>
    <a:srgbClr val="1F4E79"/>
    <a:srgbClr val="006699"/>
    <a:srgbClr val="D603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5" d="100"/>
          <a:sy n="55" d="100"/>
        </p:scale>
        <p:origin x="1004" y="48"/>
      </p:cViewPr>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kki Spuijbroek" userId="S::0116256@zadkine.nl::35a72c9f-edb1-48d7-a9d8-12634795ffc6" providerId="AD" clId="Web-{8D5A24F8-3224-CC30-39DD-403A765A9024}"/>
    <pc:docChg chg="modSld">
      <pc:chgData name="Nikki Spuijbroek" userId="S::0116256@zadkine.nl::35a72c9f-edb1-48d7-a9d8-12634795ffc6" providerId="AD" clId="Web-{8D5A24F8-3224-CC30-39DD-403A765A9024}" dt="2024-01-24T11:15:09.474" v="11" actId="20577"/>
      <pc:docMkLst>
        <pc:docMk/>
      </pc:docMkLst>
      <pc:sldChg chg="modSp">
        <pc:chgData name="Nikki Spuijbroek" userId="S::0116256@zadkine.nl::35a72c9f-edb1-48d7-a9d8-12634795ffc6" providerId="AD" clId="Web-{8D5A24F8-3224-CC30-39DD-403A765A9024}" dt="2024-01-24T11:15:09.474" v="11" actId="20577"/>
        <pc:sldMkLst>
          <pc:docMk/>
          <pc:sldMk cId="33432717" sldId="2235"/>
        </pc:sldMkLst>
        <pc:spChg chg="mod">
          <ac:chgData name="Nikki Spuijbroek" userId="S::0116256@zadkine.nl::35a72c9f-edb1-48d7-a9d8-12634795ffc6" providerId="AD" clId="Web-{8D5A24F8-3224-CC30-39DD-403A765A9024}" dt="2024-01-24T11:15:09.474" v="11" actId="20577"/>
          <ac:spMkLst>
            <pc:docMk/>
            <pc:sldMk cId="33432717" sldId="2235"/>
            <ac:spMk id="13" creationId="{13904F82-82FE-E942-E0EE-3F8591D15761}"/>
          </ac:spMkLst>
        </pc:spChg>
      </pc:sldChg>
    </pc:docChg>
  </pc:docChgLst>
  <pc:docChgLst>
    <pc:chgData name="Nikki Spuijbroek" userId="35a72c9f-edb1-48d7-a9d8-12634795ffc6" providerId="ADAL" clId="{8BE8CF86-95AA-4F67-83EF-B02C820661D8}"/>
    <pc:docChg chg="undo custSel addSld delSld modSld">
      <pc:chgData name="Nikki Spuijbroek" userId="35a72c9f-edb1-48d7-a9d8-12634795ffc6" providerId="ADAL" clId="{8BE8CF86-95AA-4F67-83EF-B02C820661D8}" dt="2024-01-18T14:09:51.523" v="5778" actId="108"/>
      <pc:docMkLst>
        <pc:docMk/>
      </pc:docMkLst>
      <pc:sldChg chg="modSp mod">
        <pc:chgData name="Nikki Spuijbroek" userId="35a72c9f-edb1-48d7-a9d8-12634795ffc6" providerId="ADAL" clId="{8BE8CF86-95AA-4F67-83EF-B02C820661D8}" dt="2024-01-16T15:20:59.075" v="5774" actId="20577"/>
        <pc:sldMkLst>
          <pc:docMk/>
          <pc:sldMk cId="3856254828" sldId="290"/>
        </pc:sldMkLst>
        <pc:spChg chg="mod">
          <ac:chgData name="Nikki Spuijbroek" userId="35a72c9f-edb1-48d7-a9d8-12634795ffc6" providerId="ADAL" clId="{8BE8CF86-95AA-4F67-83EF-B02C820661D8}" dt="2024-01-16T15:20:59.075" v="5774" actId="20577"/>
          <ac:spMkLst>
            <pc:docMk/>
            <pc:sldMk cId="3856254828" sldId="290"/>
            <ac:spMk id="7" creationId="{28014935-747A-4088-9731-C4904AB70618}"/>
          </ac:spMkLst>
        </pc:spChg>
      </pc:sldChg>
      <pc:sldChg chg="modSp mod">
        <pc:chgData name="Nikki Spuijbroek" userId="35a72c9f-edb1-48d7-a9d8-12634795ffc6" providerId="ADAL" clId="{8BE8CF86-95AA-4F67-83EF-B02C820661D8}" dt="2024-01-16T15:13:32.546" v="5738" actId="20577"/>
        <pc:sldMkLst>
          <pc:docMk/>
          <pc:sldMk cId="51898894" sldId="2234"/>
        </pc:sldMkLst>
        <pc:graphicFrameChg chg="modGraphic">
          <ac:chgData name="Nikki Spuijbroek" userId="35a72c9f-edb1-48d7-a9d8-12634795ffc6" providerId="ADAL" clId="{8BE8CF86-95AA-4F67-83EF-B02C820661D8}" dt="2024-01-16T15:13:32.546" v="5738" actId="20577"/>
          <ac:graphicFrameMkLst>
            <pc:docMk/>
            <pc:sldMk cId="51898894" sldId="2234"/>
            <ac:graphicFrameMk id="4" creationId="{0F610F96-08AE-48A2-A253-88E06751322E}"/>
          </ac:graphicFrameMkLst>
        </pc:graphicFrameChg>
      </pc:sldChg>
      <pc:sldChg chg="addSp delSp modSp mod">
        <pc:chgData name="Nikki Spuijbroek" userId="35a72c9f-edb1-48d7-a9d8-12634795ffc6" providerId="ADAL" clId="{8BE8CF86-95AA-4F67-83EF-B02C820661D8}" dt="2024-01-17T10:17:33.963" v="5776" actId="20577"/>
        <pc:sldMkLst>
          <pc:docMk/>
          <pc:sldMk cId="33432717" sldId="2235"/>
        </pc:sldMkLst>
        <pc:spChg chg="mod">
          <ac:chgData name="Nikki Spuijbroek" userId="35a72c9f-edb1-48d7-a9d8-12634795ffc6" providerId="ADAL" clId="{8BE8CF86-95AA-4F67-83EF-B02C820661D8}" dt="2024-01-11T13:50:22.500" v="114" actId="20577"/>
          <ac:spMkLst>
            <pc:docMk/>
            <pc:sldMk cId="33432717" sldId="2235"/>
            <ac:spMk id="2" creationId="{EFBCE4F5-9237-43E7-9A9E-D47852245B69}"/>
          </ac:spMkLst>
        </pc:spChg>
        <pc:spChg chg="add del">
          <ac:chgData name="Nikki Spuijbroek" userId="35a72c9f-edb1-48d7-a9d8-12634795ffc6" providerId="ADAL" clId="{8BE8CF86-95AA-4F67-83EF-B02C820661D8}" dt="2024-01-11T13:50:57.687" v="134" actId="22"/>
          <ac:spMkLst>
            <pc:docMk/>
            <pc:sldMk cId="33432717" sldId="2235"/>
            <ac:spMk id="11" creationId="{2314BD2E-A569-CD88-683D-7B81F2CA7DB7}"/>
          </ac:spMkLst>
        </pc:spChg>
        <pc:spChg chg="add mod">
          <ac:chgData name="Nikki Spuijbroek" userId="35a72c9f-edb1-48d7-a9d8-12634795ffc6" providerId="ADAL" clId="{8BE8CF86-95AA-4F67-83EF-B02C820661D8}" dt="2024-01-17T10:17:33.963" v="5776" actId="20577"/>
          <ac:spMkLst>
            <pc:docMk/>
            <pc:sldMk cId="33432717" sldId="2235"/>
            <ac:spMk id="13" creationId="{13904F82-82FE-E942-E0EE-3F8591D15761}"/>
          </ac:spMkLst>
        </pc:spChg>
        <pc:graphicFrameChg chg="del modGraphic">
          <ac:chgData name="Nikki Spuijbroek" userId="35a72c9f-edb1-48d7-a9d8-12634795ffc6" providerId="ADAL" clId="{8BE8CF86-95AA-4F67-83EF-B02C820661D8}" dt="2024-01-11T13:50:45.291" v="132" actId="478"/>
          <ac:graphicFrameMkLst>
            <pc:docMk/>
            <pc:sldMk cId="33432717" sldId="2235"/>
            <ac:graphicFrameMk id="4" creationId="{90E5189E-19C4-46BD-9535-6CEA74178A60}"/>
          </ac:graphicFrameMkLst>
        </pc:graphicFrameChg>
        <pc:graphicFrameChg chg="modGraphic">
          <ac:chgData name="Nikki Spuijbroek" userId="35a72c9f-edb1-48d7-a9d8-12634795ffc6" providerId="ADAL" clId="{8BE8CF86-95AA-4F67-83EF-B02C820661D8}" dt="2024-01-16T15:19:40.342" v="5761" actId="20577"/>
          <ac:graphicFrameMkLst>
            <pc:docMk/>
            <pc:sldMk cId="33432717" sldId="2235"/>
            <ac:graphicFrameMk id="6" creationId="{F678F664-5998-0CF5-7B35-6C1620464590}"/>
          </ac:graphicFrameMkLst>
        </pc:graphicFrameChg>
        <pc:graphicFrameChg chg="del">
          <ac:chgData name="Nikki Spuijbroek" userId="35a72c9f-edb1-48d7-a9d8-12634795ffc6" providerId="ADAL" clId="{8BE8CF86-95AA-4F67-83EF-B02C820661D8}" dt="2024-01-11T13:50:32.829" v="128" actId="21"/>
          <ac:graphicFrameMkLst>
            <pc:docMk/>
            <pc:sldMk cId="33432717" sldId="2235"/>
            <ac:graphicFrameMk id="9" creationId="{E86EE497-ECCE-D391-3C9B-3D6C1210125C}"/>
          </ac:graphicFrameMkLst>
        </pc:graphicFrameChg>
      </pc:sldChg>
      <pc:sldChg chg="modSp mod">
        <pc:chgData name="Nikki Spuijbroek" userId="35a72c9f-edb1-48d7-a9d8-12634795ffc6" providerId="ADAL" clId="{8BE8CF86-95AA-4F67-83EF-B02C820661D8}" dt="2024-01-16T15:17:16.477" v="5758" actId="14734"/>
        <pc:sldMkLst>
          <pc:docMk/>
          <pc:sldMk cId="783269556" sldId="2249"/>
        </pc:sldMkLst>
        <pc:graphicFrameChg chg="modGraphic">
          <ac:chgData name="Nikki Spuijbroek" userId="35a72c9f-edb1-48d7-a9d8-12634795ffc6" providerId="ADAL" clId="{8BE8CF86-95AA-4F67-83EF-B02C820661D8}" dt="2024-01-11T15:15:09.858" v="1856" actId="207"/>
          <ac:graphicFrameMkLst>
            <pc:docMk/>
            <pc:sldMk cId="783269556" sldId="2249"/>
            <ac:graphicFrameMk id="4" creationId="{9E287BCA-2230-495B-AB95-C3ED7767CC4C}"/>
          </ac:graphicFrameMkLst>
        </pc:graphicFrameChg>
        <pc:graphicFrameChg chg="mod modGraphic">
          <ac:chgData name="Nikki Spuijbroek" userId="35a72c9f-edb1-48d7-a9d8-12634795ffc6" providerId="ADAL" clId="{8BE8CF86-95AA-4F67-83EF-B02C820661D8}" dt="2024-01-16T15:16:45.245" v="5755" actId="14100"/>
          <ac:graphicFrameMkLst>
            <pc:docMk/>
            <pc:sldMk cId="783269556" sldId="2249"/>
            <ac:graphicFrameMk id="5" creationId="{11FDBFA8-69A4-7394-FEC4-9B98E81F8FAE}"/>
          </ac:graphicFrameMkLst>
        </pc:graphicFrameChg>
        <pc:graphicFrameChg chg="modGraphic">
          <ac:chgData name="Nikki Spuijbroek" userId="35a72c9f-edb1-48d7-a9d8-12634795ffc6" providerId="ADAL" clId="{8BE8CF86-95AA-4F67-83EF-B02C820661D8}" dt="2024-01-16T15:17:16.477" v="5758" actId="14734"/>
          <ac:graphicFrameMkLst>
            <pc:docMk/>
            <pc:sldMk cId="783269556" sldId="2249"/>
            <ac:graphicFrameMk id="8" creationId="{3CE971C2-CE1A-17EA-E9A6-DECBB345B1EF}"/>
          </ac:graphicFrameMkLst>
        </pc:graphicFrameChg>
        <pc:graphicFrameChg chg="mod modGraphic">
          <ac:chgData name="Nikki Spuijbroek" userId="35a72c9f-edb1-48d7-a9d8-12634795ffc6" providerId="ADAL" clId="{8BE8CF86-95AA-4F67-83EF-B02C820661D8}" dt="2024-01-16T15:16:35.670" v="5753" actId="14100"/>
          <ac:graphicFrameMkLst>
            <pc:docMk/>
            <pc:sldMk cId="783269556" sldId="2249"/>
            <ac:graphicFrameMk id="13" creationId="{849A7E41-E718-800C-FA51-F0C7777EE007}"/>
          </ac:graphicFrameMkLst>
        </pc:graphicFrameChg>
      </pc:sldChg>
      <pc:sldChg chg="modSp mod">
        <pc:chgData name="Nikki Spuijbroek" userId="35a72c9f-edb1-48d7-a9d8-12634795ffc6" providerId="ADAL" clId="{8BE8CF86-95AA-4F67-83EF-B02C820661D8}" dt="2024-01-16T14:48:33.060" v="5353" actId="207"/>
        <pc:sldMkLst>
          <pc:docMk/>
          <pc:sldMk cId="1332417608" sldId="2250"/>
        </pc:sldMkLst>
        <pc:spChg chg="mod">
          <ac:chgData name="Nikki Spuijbroek" userId="35a72c9f-edb1-48d7-a9d8-12634795ffc6" providerId="ADAL" clId="{8BE8CF86-95AA-4F67-83EF-B02C820661D8}" dt="2024-01-16T14:48:33.060" v="5353" actId="207"/>
          <ac:spMkLst>
            <pc:docMk/>
            <pc:sldMk cId="1332417608" sldId="2250"/>
            <ac:spMk id="24" creationId="{6AD113E5-D52B-4E36-A4F2-4093CB3556A9}"/>
          </ac:spMkLst>
        </pc:spChg>
      </pc:sldChg>
      <pc:sldChg chg="modSp mod">
        <pc:chgData name="Nikki Spuijbroek" userId="35a72c9f-edb1-48d7-a9d8-12634795ffc6" providerId="ADAL" clId="{8BE8CF86-95AA-4F67-83EF-B02C820661D8}" dt="2024-01-18T14:09:51.523" v="5778" actId="108"/>
        <pc:sldMkLst>
          <pc:docMk/>
          <pc:sldMk cId="606021085" sldId="2252"/>
        </pc:sldMkLst>
        <pc:spChg chg="mod">
          <ac:chgData name="Nikki Spuijbroek" userId="35a72c9f-edb1-48d7-a9d8-12634795ffc6" providerId="ADAL" clId="{8BE8CF86-95AA-4F67-83EF-B02C820661D8}" dt="2024-01-18T14:09:51.523" v="5778" actId="108"/>
          <ac:spMkLst>
            <pc:docMk/>
            <pc:sldMk cId="606021085" sldId="2252"/>
            <ac:spMk id="3" creationId="{81013CC8-88A4-4014-ADEF-1EF9C23B7BBE}"/>
          </ac:spMkLst>
        </pc:spChg>
        <pc:picChg chg="mod">
          <ac:chgData name="Nikki Spuijbroek" userId="35a72c9f-edb1-48d7-a9d8-12634795ffc6" providerId="ADAL" clId="{8BE8CF86-95AA-4F67-83EF-B02C820661D8}" dt="2024-01-16T14:32:59.927" v="4992" actId="1038"/>
          <ac:picMkLst>
            <pc:docMk/>
            <pc:sldMk cId="606021085" sldId="2252"/>
            <ac:picMk id="4" creationId="{C1299D76-2ADF-4400-855C-977F88DF1242}"/>
          </ac:picMkLst>
        </pc:picChg>
      </pc:sldChg>
      <pc:sldChg chg="modSp mod">
        <pc:chgData name="Nikki Spuijbroek" userId="35a72c9f-edb1-48d7-a9d8-12634795ffc6" providerId="ADAL" clId="{8BE8CF86-95AA-4F67-83EF-B02C820661D8}" dt="2024-01-11T13:48:34.224" v="77" actId="20577"/>
        <pc:sldMkLst>
          <pc:docMk/>
          <pc:sldMk cId="1560238204" sldId="2256"/>
        </pc:sldMkLst>
        <pc:spChg chg="mod">
          <ac:chgData name="Nikki Spuijbroek" userId="35a72c9f-edb1-48d7-a9d8-12634795ffc6" providerId="ADAL" clId="{8BE8CF86-95AA-4F67-83EF-B02C820661D8}" dt="2024-01-11T13:48:34.224" v="77" actId="20577"/>
          <ac:spMkLst>
            <pc:docMk/>
            <pc:sldMk cId="1560238204" sldId="2256"/>
            <ac:spMk id="9" creationId="{F5B0E285-D265-4847-ED9A-BF5A00D248B1}"/>
          </ac:spMkLst>
        </pc:spChg>
      </pc:sldChg>
      <pc:sldChg chg="modSp mod">
        <pc:chgData name="Nikki Spuijbroek" userId="35a72c9f-edb1-48d7-a9d8-12634795ffc6" providerId="ADAL" clId="{8BE8CF86-95AA-4F67-83EF-B02C820661D8}" dt="2024-01-16T15:12:23.505" v="5735" actId="20577"/>
        <pc:sldMkLst>
          <pc:docMk/>
          <pc:sldMk cId="2888314493" sldId="2258"/>
        </pc:sldMkLst>
        <pc:spChg chg="mod">
          <ac:chgData name="Nikki Spuijbroek" userId="35a72c9f-edb1-48d7-a9d8-12634795ffc6" providerId="ADAL" clId="{8BE8CF86-95AA-4F67-83EF-B02C820661D8}" dt="2024-01-16T15:12:23.505" v="5735" actId="20577"/>
          <ac:spMkLst>
            <pc:docMk/>
            <pc:sldMk cId="2888314493" sldId="2258"/>
            <ac:spMk id="8" creationId="{66A5FD38-7198-40E9-9410-5A5290DDAB7D}"/>
          </ac:spMkLst>
        </pc:spChg>
      </pc:sldChg>
      <pc:sldChg chg="addSp delSp modSp new mod">
        <pc:chgData name="Nikki Spuijbroek" userId="35a72c9f-edb1-48d7-a9d8-12634795ffc6" providerId="ADAL" clId="{8BE8CF86-95AA-4F67-83EF-B02C820661D8}" dt="2024-01-16T15:19:32.810" v="5760" actId="20577"/>
        <pc:sldMkLst>
          <pc:docMk/>
          <pc:sldMk cId="1178285814" sldId="2260"/>
        </pc:sldMkLst>
        <pc:spChg chg="del">
          <ac:chgData name="Nikki Spuijbroek" userId="35a72c9f-edb1-48d7-a9d8-12634795ffc6" providerId="ADAL" clId="{8BE8CF86-95AA-4F67-83EF-B02C820661D8}" dt="2024-01-11T13:50:15.557" v="108" actId="478"/>
          <ac:spMkLst>
            <pc:docMk/>
            <pc:sldMk cId="1178285814" sldId="2260"/>
            <ac:spMk id="2" creationId="{FBFD2DBD-9679-5D62-0165-5AE3EEAAE5AE}"/>
          </ac:spMkLst>
        </pc:spChg>
        <pc:spChg chg="del">
          <ac:chgData name="Nikki Spuijbroek" userId="35a72c9f-edb1-48d7-a9d8-12634795ffc6" providerId="ADAL" clId="{8BE8CF86-95AA-4F67-83EF-B02C820661D8}" dt="2024-01-11T13:50:17.691" v="110" actId="478"/>
          <ac:spMkLst>
            <pc:docMk/>
            <pc:sldMk cId="1178285814" sldId="2260"/>
            <ac:spMk id="3" creationId="{4DD841DF-8999-5341-6DC7-5EE8B800798A}"/>
          </ac:spMkLst>
        </pc:spChg>
        <pc:spChg chg="del">
          <ac:chgData name="Nikki Spuijbroek" userId="35a72c9f-edb1-48d7-a9d8-12634795ffc6" providerId="ADAL" clId="{8BE8CF86-95AA-4F67-83EF-B02C820661D8}" dt="2024-01-11T13:50:16.912" v="109" actId="478"/>
          <ac:spMkLst>
            <pc:docMk/>
            <pc:sldMk cId="1178285814" sldId="2260"/>
            <ac:spMk id="4" creationId="{186AE3A5-E701-B908-B8F9-B893544856AF}"/>
          </ac:spMkLst>
        </pc:spChg>
        <pc:spChg chg="add mod">
          <ac:chgData name="Nikki Spuijbroek" userId="35a72c9f-edb1-48d7-a9d8-12634795ffc6" providerId="ADAL" clId="{8BE8CF86-95AA-4F67-83EF-B02C820661D8}" dt="2024-01-11T13:50:26.308" v="127" actId="20577"/>
          <ac:spMkLst>
            <pc:docMk/>
            <pc:sldMk cId="1178285814" sldId="2260"/>
            <ac:spMk id="8" creationId="{265AAD9E-B45B-210E-708A-ED6139853C3C}"/>
          </ac:spMkLst>
        </pc:spChg>
        <pc:spChg chg="add mod">
          <ac:chgData name="Nikki Spuijbroek" userId="35a72c9f-edb1-48d7-a9d8-12634795ffc6" providerId="ADAL" clId="{8BE8CF86-95AA-4F67-83EF-B02C820661D8}" dt="2024-01-16T13:47:34.562" v="1981" actId="255"/>
          <ac:spMkLst>
            <pc:docMk/>
            <pc:sldMk cId="1178285814" sldId="2260"/>
            <ac:spMk id="10" creationId="{338BD0C8-7DCD-B627-C020-B5F35877D3E2}"/>
          </ac:spMkLst>
        </pc:spChg>
        <pc:graphicFrameChg chg="add mod modGraphic">
          <ac:chgData name="Nikki Spuijbroek" userId="35a72c9f-edb1-48d7-a9d8-12634795ffc6" providerId="ADAL" clId="{8BE8CF86-95AA-4F67-83EF-B02C820661D8}" dt="2024-01-16T15:19:32.810" v="5760" actId="20577"/>
          <ac:graphicFrameMkLst>
            <pc:docMk/>
            <pc:sldMk cId="1178285814" sldId="2260"/>
            <ac:graphicFrameMk id="9" creationId="{38363DA4-A348-832C-23A2-532F5F28A759}"/>
          </ac:graphicFrameMkLst>
        </pc:graphicFrameChg>
      </pc:sldChg>
      <pc:sldChg chg="delSp modSp new del mod">
        <pc:chgData name="Nikki Spuijbroek" userId="35a72c9f-edb1-48d7-a9d8-12634795ffc6" providerId="ADAL" clId="{8BE8CF86-95AA-4F67-83EF-B02C820661D8}" dt="2024-01-16T15:12:26.835" v="5736" actId="47"/>
        <pc:sldMkLst>
          <pc:docMk/>
          <pc:sldMk cId="1118808748" sldId="2261"/>
        </pc:sldMkLst>
        <pc:spChg chg="del">
          <ac:chgData name="Nikki Spuijbroek" userId="35a72c9f-edb1-48d7-a9d8-12634795ffc6" providerId="ADAL" clId="{8BE8CF86-95AA-4F67-83EF-B02C820661D8}" dt="2024-01-16T15:10:10.779" v="5712" actId="478"/>
          <ac:spMkLst>
            <pc:docMk/>
            <pc:sldMk cId="1118808748" sldId="2261"/>
            <ac:spMk id="2" creationId="{CB5BAC7C-35EA-AD8F-33F0-8A6D989B043F}"/>
          </ac:spMkLst>
        </pc:spChg>
        <pc:spChg chg="mod">
          <ac:chgData name="Nikki Spuijbroek" userId="35a72c9f-edb1-48d7-a9d8-12634795ffc6" providerId="ADAL" clId="{8BE8CF86-95AA-4F67-83EF-B02C820661D8}" dt="2024-01-16T15:11:43.613" v="5728" actId="21"/>
          <ac:spMkLst>
            <pc:docMk/>
            <pc:sldMk cId="1118808748" sldId="2261"/>
            <ac:spMk id="3" creationId="{E1F035DA-EB66-5FE6-9D30-66D8E8B87DF0}"/>
          </ac:spMkLst>
        </pc:spChg>
        <pc:spChg chg="del">
          <ac:chgData name="Nikki Spuijbroek" userId="35a72c9f-edb1-48d7-a9d8-12634795ffc6" providerId="ADAL" clId="{8BE8CF86-95AA-4F67-83EF-B02C820661D8}" dt="2024-01-16T15:10:09.213" v="5711" actId="478"/>
          <ac:spMkLst>
            <pc:docMk/>
            <pc:sldMk cId="1118808748" sldId="2261"/>
            <ac:spMk id="4" creationId="{AAB2D3DF-BF1C-A843-C6F0-C75E5B99C26B}"/>
          </ac:spMkLst>
        </pc:spChg>
      </pc:sldChg>
    </pc:docChg>
  </pc:docChgLst>
  <pc:docChgLst>
    <pc:chgData name="Rutger Hofman" userId="S::0104338@zadkine.nl::51363c00-393e-449e-a3c5-788b1c477655" providerId="AD" clId="Web-{EEF3F03F-4278-4A4D-826E-DD7EF4BD872D}"/>
    <pc:docChg chg="modSld">
      <pc:chgData name="Rutger Hofman" userId="S::0104338@zadkine.nl::51363c00-393e-449e-a3c5-788b1c477655" providerId="AD" clId="Web-{EEF3F03F-4278-4A4D-826E-DD7EF4BD872D}" dt="2024-01-23T12:18:16.225" v="293" actId="20577"/>
      <pc:docMkLst>
        <pc:docMk/>
      </pc:docMkLst>
      <pc:sldChg chg="modSp">
        <pc:chgData name="Rutger Hofman" userId="S::0104338@zadkine.nl::51363c00-393e-449e-a3c5-788b1c477655" providerId="AD" clId="Web-{EEF3F03F-4278-4A4D-826E-DD7EF4BD872D}" dt="2024-01-23T12:18:16.225" v="293" actId="20577"/>
        <pc:sldMkLst>
          <pc:docMk/>
          <pc:sldMk cId="33432717" sldId="2235"/>
        </pc:sldMkLst>
        <pc:spChg chg="mod">
          <ac:chgData name="Rutger Hofman" userId="S::0104338@zadkine.nl::51363c00-393e-449e-a3c5-788b1c477655" providerId="AD" clId="Web-{EEF3F03F-4278-4A4D-826E-DD7EF4BD872D}" dt="2024-01-23T12:18:16.225" v="293" actId="20577"/>
          <ac:spMkLst>
            <pc:docMk/>
            <pc:sldMk cId="33432717" sldId="2235"/>
            <ac:spMk id="13" creationId="{13904F82-82FE-E942-E0EE-3F8591D15761}"/>
          </ac:spMkLst>
        </pc:spChg>
      </pc:sldChg>
    </pc:docChg>
  </pc:docChgLst>
  <pc:docChgLst>
    <pc:chgData name="Nikki Spuijbroek" userId="S::0116256@zadkine.nl::35a72c9f-edb1-48d7-a9d8-12634795ffc6" providerId="AD" clId="Web-{30153C27-B6A4-DBFA-4560-ED19530B7A62}"/>
    <pc:docChg chg="modSld">
      <pc:chgData name="Nikki Spuijbroek" userId="S::0116256@zadkine.nl::35a72c9f-edb1-48d7-a9d8-12634795ffc6" providerId="AD" clId="Web-{30153C27-B6A4-DBFA-4560-ED19530B7A62}" dt="2024-01-23T10:19:30.931" v="195" actId="20577"/>
      <pc:docMkLst>
        <pc:docMk/>
      </pc:docMkLst>
      <pc:sldChg chg="modSp">
        <pc:chgData name="Nikki Spuijbroek" userId="S::0116256@zadkine.nl::35a72c9f-edb1-48d7-a9d8-12634795ffc6" providerId="AD" clId="Web-{30153C27-B6A4-DBFA-4560-ED19530B7A62}" dt="2024-01-23T10:19:30.931" v="195" actId="20577"/>
        <pc:sldMkLst>
          <pc:docMk/>
          <pc:sldMk cId="1178285814" sldId="2260"/>
        </pc:sldMkLst>
        <pc:spChg chg="mod">
          <ac:chgData name="Nikki Spuijbroek" userId="S::0116256@zadkine.nl::35a72c9f-edb1-48d7-a9d8-12634795ffc6" providerId="AD" clId="Web-{30153C27-B6A4-DBFA-4560-ED19530B7A62}" dt="2024-01-23T10:19:30.931" v="195" actId="20577"/>
          <ac:spMkLst>
            <pc:docMk/>
            <pc:sldMk cId="1178285814" sldId="2260"/>
            <ac:spMk id="10" creationId="{338BD0C8-7DCD-B627-C020-B5F35877D3E2}"/>
          </ac:spMkLst>
        </pc:spChg>
      </pc:sldChg>
    </pc:docChg>
  </pc:docChgLst>
  <pc:docChgLst>
    <pc:chgData name="Bianca Kloos" userId="1ed430ae-f8fc-464c-8ad4-b70e48b1e366" providerId="ADAL" clId="{966A5E79-C96A-462E-95F5-7E07BDA1B864}"/>
    <pc:docChg chg="undo custSel addSld delSld modSld sldOrd">
      <pc:chgData name="Bianca Kloos" userId="1ed430ae-f8fc-464c-8ad4-b70e48b1e366" providerId="ADAL" clId="{966A5E79-C96A-462E-95F5-7E07BDA1B864}" dt="2024-01-29T10:32:22.446" v="13281" actId="255"/>
      <pc:docMkLst>
        <pc:docMk/>
      </pc:docMkLst>
      <pc:sldChg chg="modSp mod">
        <pc:chgData name="Bianca Kloos" userId="1ed430ae-f8fc-464c-8ad4-b70e48b1e366" providerId="ADAL" clId="{966A5E79-C96A-462E-95F5-7E07BDA1B864}" dt="2024-01-22T10:15:07.873" v="4362" actId="20577"/>
        <pc:sldMkLst>
          <pc:docMk/>
          <pc:sldMk cId="3856254828" sldId="290"/>
        </pc:sldMkLst>
        <pc:spChg chg="mod">
          <ac:chgData name="Bianca Kloos" userId="1ed430ae-f8fc-464c-8ad4-b70e48b1e366" providerId="ADAL" clId="{966A5E79-C96A-462E-95F5-7E07BDA1B864}" dt="2024-01-22T10:15:07.873" v="4362" actId="20577"/>
          <ac:spMkLst>
            <pc:docMk/>
            <pc:sldMk cId="3856254828" sldId="290"/>
            <ac:spMk id="5" creationId="{43B522E9-DF81-43A9-B597-7758AB2ABD87}"/>
          </ac:spMkLst>
        </pc:spChg>
        <pc:spChg chg="mod">
          <ac:chgData name="Bianca Kloos" userId="1ed430ae-f8fc-464c-8ad4-b70e48b1e366" providerId="ADAL" clId="{966A5E79-C96A-462E-95F5-7E07BDA1B864}" dt="2024-01-18T14:11:51.313" v="4230" actId="20577"/>
          <ac:spMkLst>
            <pc:docMk/>
            <pc:sldMk cId="3856254828" sldId="290"/>
            <ac:spMk id="7" creationId="{28014935-747A-4088-9731-C4904AB70618}"/>
          </ac:spMkLst>
        </pc:spChg>
      </pc:sldChg>
      <pc:sldChg chg="modSp mod">
        <pc:chgData name="Bianca Kloos" userId="1ed430ae-f8fc-464c-8ad4-b70e48b1e366" providerId="ADAL" clId="{966A5E79-C96A-462E-95F5-7E07BDA1B864}" dt="2024-01-24T12:01:58.828" v="12701" actId="20577"/>
        <pc:sldMkLst>
          <pc:docMk/>
          <pc:sldMk cId="51898894" sldId="2234"/>
        </pc:sldMkLst>
        <pc:graphicFrameChg chg="mod modGraphic">
          <ac:chgData name="Bianca Kloos" userId="1ed430ae-f8fc-464c-8ad4-b70e48b1e366" providerId="ADAL" clId="{966A5E79-C96A-462E-95F5-7E07BDA1B864}" dt="2024-01-24T12:01:58.828" v="12701" actId="20577"/>
          <ac:graphicFrameMkLst>
            <pc:docMk/>
            <pc:sldMk cId="51898894" sldId="2234"/>
            <ac:graphicFrameMk id="4" creationId="{0F610F96-08AE-48A2-A253-88E06751322E}"/>
          </ac:graphicFrameMkLst>
        </pc:graphicFrameChg>
      </pc:sldChg>
      <pc:sldChg chg="addSp delSp modSp mod">
        <pc:chgData name="Bianca Kloos" userId="1ed430ae-f8fc-464c-8ad4-b70e48b1e366" providerId="ADAL" clId="{966A5E79-C96A-462E-95F5-7E07BDA1B864}" dt="2024-01-24T12:04:34.635" v="12721" actId="20577"/>
        <pc:sldMkLst>
          <pc:docMk/>
          <pc:sldMk cId="33432717" sldId="2235"/>
        </pc:sldMkLst>
        <pc:spChg chg="mod">
          <ac:chgData name="Bianca Kloos" userId="1ed430ae-f8fc-464c-8ad4-b70e48b1e366" providerId="ADAL" clId="{966A5E79-C96A-462E-95F5-7E07BDA1B864}" dt="2024-01-24T12:04:34.635" v="12721" actId="20577"/>
          <ac:spMkLst>
            <pc:docMk/>
            <pc:sldMk cId="33432717" sldId="2235"/>
            <ac:spMk id="13" creationId="{13904F82-82FE-E942-E0EE-3F8591D15761}"/>
          </ac:spMkLst>
        </pc:spChg>
        <pc:picChg chg="add del">
          <ac:chgData name="Bianca Kloos" userId="1ed430ae-f8fc-464c-8ad4-b70e48b1e366" providerId="ADAL" clId="{966A5E79-C96A-462E-95F5-7E07BDA1B864}" dt="2024-01-24T11:32:27.197" v="10900" actId="22"/>
          <ac:picMkLst>
            <pc:docMk/>
            <pc:sldMk cId="33432717" sldId="2235"/>
            <ac:picMk id="5" creationId="{82EE07AA-A6E4-4AF2-AB88-50FDF631C4A7}"/>
          </ac:picMkLst>
        </pc:picChg>
      </pc:sldChg>
      <pc:sldChg chg="modSp mod">
        <pc:chgData name="Bianca Kloos" userId="1ed430ae-f8fc-464c-8ad4-b70e48b1e366" providerId="ADAL" clId="{966A5E79-C96A-462E-95F5-7E07BDA1B864}" dt="2024-01-24T12:02:29.297" v="12704" actId="20577"/>
        <pc:sldMkLst>
          <pc:docMk/>
          <pc:sldMk cId="783269556" sldId="2249"/>
        </pc:sldMkLst>
        <pc:graphicFrameChg chg="mod modGraphic">
          <ac:chgData name="Bianca Kloos" userId="1ed430ae-f8fc-464c-8ad4-b70e48b1e366" providerId="ADAL" clId="{966A5E79-C96A-462E-95F5-7E07BDA1B864}" dt="2024-01-24T12:02:29.297" v="12704" actId="20577"/>
          <ac:graphicFrameMkLst>
            <pc:docMk/>
            <pc:sldMk cId="783269556" sldId="2249"/>
            <ac:graphicFrameMk id="4" creationId="{9E287BCA-2230-495B-AB95-C3ED7767CC4C}"/>
          </ac:graphicFrameMkLst>
        </pc:graphicFrameChg>
      </pc:sldChg>
      <pc:sldChg chg="modSp del mod">
        <pc:chgData name="Bianca Kloos" userId="1ed430ae-f8fc-464c-8ad4-b70e48b1e366" providerId="ADAL" clId="{966A5E79-C96A-462E-95F5-7E07BDA1B864}" dt="2024-01-22T13:23:35.949" v="9849" actId="2696"/>
        <pc:sldMkLst>
          <pc:docMk/>
          <pc:sldMk cId="1332417608" sldId="2250"/>
        </pc:sldMkLst>
        <pc:spChg chg="mod">
          <ac:chgData name="Bianca Kloos" userId="1ed430ae-f8fc-464c-8ad4-b70e48b1e366" providerId="ADAL" clId="{966A5E79-C96A-462E-95F5-7E07BDA1B864}" dt="2024-01-22T12:31:21.453" v="7826" actId="20577"/>
          <ac:spMkLst>
            <pc:docMk/>
            <pc:sldMk cId="1332417608" sldId="2250"/>
            <ac:spMk id="24" creationId="{6AD113E5-D52B-4E36-A4F2-4093CB3556A9}"/>
          </ac:spMkLst>
        </pc:spChg>
      </pc:sldChg>
      <pc:sldChg chg="modSp add del mod">
        <pc:chgData name="Bianca Kloos" userId="1ed430ae-f8fc-464c-8ad4-b70e48b1e366" providerId="ADAL" clId="{966A5E79-C96A-462E-95F5-7E07BDA1B864}" dt="2024-01-22T13:35:39.374" v="10069" actId="2696"/>
        <pc:sldMkLst>
          <pc:docMk/>
          <pc:sldMk cId="606021085" sldId="2252"/>
        </pc:sldMkLst>
        <pc:spChg chg="mod">
          <ac:chgData name="Bianca Kloos" userId="1ed430ae-f8fc-464c-8ad4-b70e48b1e366" providerId="ADAL" clId="{966A5E79-C96A-462E-95F5-7E07BDA1B864}" dt="2024-01-22T12:13:18.557" v="7340" actId="20577"/>
          <ac:spMkLst>
            <pc:docMk/>
            <pc:sldMk cId="606021085" sldId="2252"/>
            <ac:spMk id="2" creationId="{20A0784F-E9AE-49A5-8F2B-4380227FCFDB}"/>
          </ac:spMkLst>
        </pc:spChg>
        <pc:spChg chg="mod">
          <ac:chgData name="Bianca Kloos" userId="1ed430ae-f8fc-464c-8ad4-b70e48b1e366" providerId="ADAL" clId="{966A5E79-C96A-462E-95F5-7E07BDA1B864}" dt="2024-01-22T13:24:48.559" v="9987" actId="20577"/>
          <ac:spMkLst>
            <pc:docMk/>
            <pc:sldMk cId="606021085" sldId="2252"/>
            <ac:spMk id="3" creationId="{81013CC8-88A4-4014-ADEF-1EF9C23B7BBE}"/>
          </ac:spMkLst>
        </pc:spChg>
        <pc:picChg chg="mod">
          <ac:chgData name="Bianca Kloos" userId="1ed430ae-f8fc-464c-8ad4-b70e48b1e366" providerId="ADAL" clId="{966A5E79-C96A-462E-95F5-7E07BDA1B864}" dt="2024-01-22T13:24:53.177" v="9988" actId="1076"/>
          <ac:picMkLst>
            <pc:docMk/>
            <pc:sldMk cId="606021085" sldId="2252"/>
            <ac:picMk id="4" creationId="{C1299D76-2ADF-4400-855C-977F88DF1242}"/>
          </ac:picMkLst>
        </pc:picChg>
      </pc:sldChg>
      <pc:sldChg chg="addSp delSp modSp mod">
        <pc:chgData name="Bianca Kloos" userId="1ed430ae-f8fc-464c-8ad4-b70e48b1e366" providerId="ADAL" clId="{966A5E79-C96A-462E-95F5-7E07BDA1B864}" dt="2024-01-22T11:37:10.077" v="5824" actId="20577"/>
        <pc:sldMkLst>
          <pc:docMk/>
          <pc:sldMk cId="1560238204" sldId="2256"/>
        </pc:sldMkLst>
        <pc:spChg chg="mod">
          <ac:chgData name="Bianca Kloos" userId="1ed430ae-f8fc-464c-8ad4-b70e48b1e366" providerId="ADAL" clId="{966A5E79-C96A-462E-95F5-7E07BDA1B864}" dt="2024-01-22T11:37:10.077" v="5824" actId="20577"/>
          <ac:spMkLst>
            <pc:docMk/>
            <pc:sldMk cId="1560238204" sldId="2256"/>
            <ac:spMk id="9" creationId="{F5B0E285-D265-4847-ED9A-BF5A00D248B1}"/>
          </ac:spMkLst>
        </pc:spChg>
        <pc:picChg chg="del">
          <ac:chgData name="Bianca Kloos" userId="1ed430ae-f8fc-464c-8ad4-b70e48b1e366" providerId="ADAL" clId="{966A5E79-C96A-462E-95F5-7E07BDA1B864}" dt="2024-01-22T10:28:00.248" v="4363" actId="478"/>
          <ac:picMkLst>
            <pc:docMk/>
            <pc:sldMk cId="1560238204" sldId="2256"/>
            <ac:picMk id="15" creationId="{18E489D2-D4A1-FF30-2F64-4B6727B4E32E}"/>
          </ac:picMkLst>
        </pc:picChg>
        <pc:picChg chg="add mod">
          <ac:chgData name="Bianca Kloos" userId="1ed430ae-f8fc-464c-8ad4-b70e48b1e366" providerId="ADAL" clId="{966A5E79-C96A-462E-95F5-7E07BDA1B864}" dt="2024-01-22T10:28:27.609" v="4365" actId="1076"/>
          <ac:picMkLst>
            <pc:docMk/>
            <pc:sldMk cId="1560238204" sldId="2256"/>
            <ac:picMk id="1026" creationId="{E5413869-188D-4AF3-A6BF-F740B527A4CA}"/>
          </ac:picMkLst>
        </pc:picChg>
      </pc:sldChg>
      <pc:sldChg chg="modSp del mod">
        <pc:chgData name="Bianca Kloos" userId="1ed430ae-f8fc-464c-8ad4-b70e48b1e366" providerId="ADAL" clId="{966A5E79-C96A-462E-95F5-7E07BDA1B864}" dt="2024-01-22T13:14:52.325" v="9668" actId="2696"/>
        <pc:sldMkLst>
          <pc:docMk/>
          <pc:sldMk cId="2888314493" sldId="2258"/>
        </pc:sldMkLst>
        <pc:spChg chg="mod">
          <ac:chgData name="Bianca Kloos" userId="1ed430ae-f8fc-464c-8ad4-b70e48b1e366" providerId="ADAL" clId="{966A5E79-C96A-462E-95F5-7E07BDA1B864}" dt="2024-01-22T11:35:44.768" v="5716" actId="1076"/>
          <ac:spMkLst>
            <pc:docMk/>
            <pc:sldMk cId="2888314493" sldId="2258"/>
            <ac:spMk id="8" creationId="{66A5FD38-7198-40E9-9410-5A5290DDAB7D}"/>
          </ac:spMkLst>
        </pc:spChg>
      </pc:sldChg>
      <pc:sldChg chg="modSp mod">
        <pc:chgData name="Bianca Kloos" userId="1ed430ae-f8fc-464c-8ad4-b70e48b1e366" providerId="ADAL" clId="{966A5E79-C96A-462E-95F5-7E07BDA1B864}" dt="2024-01-24T11:14:27.464" v="10626" actId="20577"/>
        <pc:sldMkLst>
          <pc:docMk/>
          <pc:sldMk cId="946090577" sldId="2259"/>
        </pc:sldMkLst>
        <pc:spChg chg="mod">
          <ac:chgData name="Bianca Kloos" userId="1ed430ae-f8fc-464c-8ad4-b70e48b1e366" providerId="ADAL" clId="{966A5E79-C96A-462E-95F5-7E07BDA1B864}" dt="2024-01-24T11:14:27.464" v="10626" actId="20577"/>
          <ac:spMkLst>
            <pc:docMk/>
            <pc:sldMk cId="946090577" sldId="2259"/>
            <ac:spMk id="3" creationId="{4EEC3843-61B3-4404-B022-857EC989BDC0}"/>
          </ac:spMkLst>
        </pc:spChg>
        <pc:spChg chg="mod">
          <ac:chgData name="Bianca Kloos" userId="1ed430ae-f8fc-464c-8ad4-b70e48b1e366" providerId="ADAL" clId="{966A5E79-C96A-462E-95F5-7E07BDA1B864}" dt="2024-01-22T13:37:55.782" v="10110" actId="20577"/>
          <ac:spMkLst>
            <pc:docMk/>
            <pc:sldMk cId="946090577" sldId="2259"/>
            <ac:spMk id="4" creationId="{1AE784DA-C541-4951-8BD4-FDCB7EA3B750}"/>
          </ac:spMkLst>
        </pc:spChg>
      </pc:sldChg>
      <pc:sldChg chg="addSp delSp modSp mod">
        <pc:chgData name="Bianca Kloos" userId="1ed430ae-f8fc-464c-8ad4-b70e48b1e366" providerId="ADAL" clId="{966A5E79-C96A-462E-95F5-7E07BDA1B864}" dt="2024-01-24T12:11:47.131" v="13273" actId="1076"/>
        <pc:sldMkLst>
          <pc:docMk/>
          <pc:sldMk cId="1178285814" sldId="2260"/>
        </pc:sldMkLst>
        <pc:spChg chg="del">
          <ac:chgData name="Bianca Kloos" userId="1ed430ae-f8fc-464c-8ad4-b70e48b1e366" providerId="ADAL" clId="{966A5E79-C96A-462E-95F5-7E07BDA1B864}" dt="2024-01-22T13:26:14.994" v="9993" actId="478"/>
          <ac:spMkLst>
            <pc:docMk/>
            <pc:sldMk cId="1178285814" sldId="2260"/>
            <ac:spMk id="5" creationId="{21327B9A-F324-018D-CCD6-FFDA8F1C1075}"/>
          </ac:spMkLst>
        </pc:spChg>
        <pc:spChg chg="mod">
          <ac:chgData name="Bianca Kloos" userId="1ed430ae-f8fc-464c-8ad4-b70e48b1e366" providerId="ADAL" clId="{966A5E79-C96A-462E-95F5-7E07BDA1B864}" dt="2024-01-22T13:26:18.783" v="9995" actId="6549"/>
          <ac:spMkLst>
            <pc:docMk/>
            <pc:sldMk cId="1178285814" sldId="2260"/>
            <ac:spMk id="6" creationId="{32FEA707-7A23-C20D-163C-5DCB4AB36963}"/>
          </ac:spMkLst>
        </pc:spChg>
        <pc:spChg chg="mod">
          <ac:chgData name="Bianca Kloos" userId="1ed430ae-f8fc-464c-8ad4-b70e48b1e366" providerId="ADAL" clId="{966A5E79-C96A-462E-95F5-7E07BDA1B864}" dt="2024-01-22T14:12:09.840" v="10315" actId="1076"/>
          <ac:spMkLst>
            <pc:docMk/>
            <pc:sldMk cId="1178285814" sldId="2260"/>
            <ac:spMk id="7" creationId="{D7AE2285-75A9-23AD-387C-A4FDFBA1E763}"/>
          </ac:spMkLst>
        </pc:spChg>
        <pc:spChg chg="mod">
          <ac:chgData name="Bianca Kloos" userId="1ed430ae-f8fc-464c-8ad4-b70e48b1e366" providerId="ADAL" clId="{966A5E79-C96A-462E-95F5-7E07BDA1B864}" dt="2024-01-24T12:05:16.382" v="12723" actId="14100"/>
          <ac:spMkLst>
            <pc:docMk/>
            <pc:sldMk cId="1178285814" sldId="2260"/>
            <ac:spMk id="10" creationId="{338BD0C8-7DCD-B627-C020-B5F35877D3E2}"/>
          </ac:spMkLst>
        </pc:spChg>
        <pc:graphicFrameChg chg="modGraphic">
          <ac:chgData name="Bianca Kloos" userId="1ed430ae-f8fc-464c-8ad4-b70e48b1e366" providerId="ADAL" clId="{966A5E79-C96A-462E-95F5-7E07BDA1B864}" dt="2024-01-24T11:10:37.131" v="10573" actId="14734"/>
          <ac:graphicFrameMkLst>
            <pc:docMk/>
            <pc:sldMk cId="1178285814" sldId="2260"/>
            <ac:graphicFrameMk id="9" creationId="{38363DA4-A348-832C-23A2-532F5F28A759}"/>
          </ac:graphicFrameMkLst>
        </pc:graphicFrameChg>
        <pc:picChg chg="add mod">
          <ac:chgData name="Bianca Kloos" userId="1ed430ae-f8fc-464c-8ad4-b70e48b1e366" providerId="ADAL" clId="{966A5E79-C96A-462E-95F5-7E07BDA1B864}" dt="2024-01-24T12:11:47.131" v="13273" actId="1076"/>
          <ac:picMkLst>
            <pc:docMk/>
            <pc:sldMk cId="1178285814" sldId="2260"/>
            <ac:picMk id="11" creationId="{7AF77F2A-089C-4644-8ADF-EA0504A31C9B}"/>
          </ac:picMkLst>
        </pc:picChg>
      </pc:sldChg>
      <pc:sldChg chg="addSp delSp modSp new del mod ord">
        <pc:chgData name="Bianca Kloos" userId="1ed430ae-f8fc-464c-8ad4-b70e48b1e366" providerId="ADAL" clId="{966A5E79-C96A-462E-95F5-7E07BDA1B864}" dt="2024-01-24T11:13:55.964" v="10591" actId="2696"/>
        <pc:sldMkLst>
          <pc:docMk/>
          <pc:sldMk cId="2977833099" sldId="2261"/>
        </pc:sldMkLst>
        <pc:spChg chg="mod">
          <ac:chgData name="Bianca Kloos" userId="1ed430ae-f8fc-464c-8ad4-b70e48b1e366" providerId="ADAL" clId="{966A5E79-C96A-462E-95F5-7E07BDA1B864}" dt="2024-01-22T12:10:54.494" v="7267" actId="20577"/>
          <ac:spMkLst>
            <pc:docMk/>
            <pc:sldMk cId="2977833099" sldId="2261"/>
            <ac:spMk id="2" creationId="{23A6D820-F2E6-484B-A43C-16479237C03E}"/>
          </ac:spMkLst>
        </pc:spChg>
        <pc:spChg chg="del">
          <ac:chgData name="Bianca Kloos" userId="1ed430ae-f8fc-464c-8ad4-b70e48b1e366" providerId="ADAL" clId="{966A5E79-C96A-462E-95F5-7E07BDA1B864}" dt="2024-01-22T13:31:01.340" v="10040"/>
          <ac:spMkLst>
            <pc:docMk/>
            <pc:sldMk cId="2977833099" sldId="2261"/>
            <ac:spMk id="3" creationId="{3270C1A1-D02D-40B0-8C21-DFBFED565710}"/>
          </ac:spMkLst>
        </pc:spChg>
        <pc:spChg chg="mod">
          <ac:chgData name="Bianca Kloos" userId="1ed430ae-f8fc-464c-8ad4-b70e48b1e366" providerId="ADAL" clId="{966A5E79-C96A-462E-95F5-7E07BDA1B864}" dt="2024-01-22T13:26:23.479" v="9996" actId="6549"/>
          <ac:spMkLst>
            <pc:docMk/>
            <pc:sldMk cId="2977833099" sldId="2261"/>
            <ac:spMk id="5" creationId="{F49FDBFD-96FB-4DCD-A3C6-2649C712F981}"/>
          </ac:spMkLst>
        </pc:spChg>
        <pc:spChg chg="mod">
          <ac:chgData name="Bianca Kloos" userId="1ed430ae-f8fc-464c-8ad4-b70e48b1e366" providerId="ADAL" clId="{966A5E79-C96A-462E-95F5-7E07BDA1B864}" dt="2024-01-22T13:26:25.513" v="9997" actId="6549"/>
          <ac:spMkLst>
            <pc:docMk/>
            <pc:sldMk cId="2977833099" sldId="2261"/>
            <ac:spMk id="6" creationId="{56BFD0AF-4E3F-4132-8247-F15F14A1A6EC}"/>
          </ac:spMkLst>
        </pc:spChg>
        <pc:spChg chg="mod">
          <ac:chgData name="Bianca Kloos" userId="1ed430ae-f8fc-464c-8ad4-b70e48b1e366" providerId="ADAL" clId="{966A5E79-C96A-462E-95F5-7E07BDA1B864}" dt="2024-01-22T14:12:55.038" v="10324" actId="20577"/>
          <ac:spMkLst>
            <pc:docMk/>
            <pc:sldMk cId="2977833099" sldId="2261"/>
            <ac:spMk id="7" creationId="{2841E463-F8C9-4D3A-8ED5-DC548FECED8C}"/>
          </ac:spMkLst>
        </pc:spChg>
        <pc:spChg chg="add mod">
          <ac:chgData name="Bianca Kloos" userId="1ed430ae-f8fc-464c-8ad4-b70e48b1e366" providerId="ADAL" clId="{966A5E79-C96A-462E-95F5-7E07BDA1B864}" dt="2024-01-22T13:37:09.926" v="10092" actId="478"/>
          <ac:spMkLst>
            <pc:docMk/>
            <pc:sldMk cId="2977833099" sldId="2261"/>
            <ac:spMk id="10" creationId="{56479AA0-F168-4153-B5B5-FC1381AEE876}"/>
          </ac:spMkLst>
        </pc:spChg>
        <pc:picChg chg="add del mod">
          <ac:chgData name="Bianca Kloos" userId="1ed430ae-f8fc-464c-8ad4-b70e48b1e366" providerId="ADAL" clId="{966A5E79-C96A-462E-95F5-7E07BDA1B864}" dt="2024-01-22T13:37:09.926" v="10092" actId="478"/>
          <ac:picMkLst>
            <pc:docMk/>
            <pc:sldMk cId="2977833099" sldId="2261"/>
            <ac:picMk id="8" creationId="{A874C3D7-F9B1-47A3-A593-E20D86E3DDEE}"/>
          </ac:picMkLst>
        </pc:picChg>
      </pc:sldChg>
      <pc:sldChg chg="modSp new del mod">
        <pc:chgData name="Bianca Kloos" userId="1ed430ae-f8fc-464c-8ad4-b70e48b1e366" providerId="ADAL" clId="{966A5E79-C96A-462E-95F5-7E07BDA1B864}" dt="2024-01-22T13:10:03.491" v="9655" actId="47"/>
        <pc:sldMkLst>
          <pc:docMk/>
          <pc:sldMk cId="2927814053" sldId="2262"/>
        </pc:sldMkLst>
        <pc:spChg chg="mod">
          <ac:chgData name="Bianca Kloos" userId="1ed430ae-f8fc-464c-8ad4-b70e48b1e366" providerId="ADAL" clId="{966A5E79-C96A-462E-95F5-7E07BDA1B864}" dt="2024-01-22T13:09:06.798" v="9649" actId="20577"/>
          <ac:spMkLst>
            <pc:docMk/>
            <pc:sldMk cId="2927814053" sldId="2262"/>
            <ac:spMk id="2" creationId="{C303D19D-3CE8-410C-B8FC-A2474FF0B64F}"/>
          </ac:spMkLst>
        </pc:spChg>
        <pc:spChg chg="mod">
          <ac:chgData name="Bianca Kloos" userId="1ed430ae-f8fc-464c-8ad4-b70e48b1e366" providerId="ADAL" clId="{966A5E79-C96A-462E-95F5-7E07BDA1B864}" dt="2024-01-22T13:09:55.246" v="9654"/>
          <ac:spMkLst>
            <pc:docMk/>
            <pc:sldMk cId="2927814053" sldId="2262"/>
            <ac:spMk id="3" creationId="{C81E1502-A9CB-460D-BF99-7336CF5A73BC}"/>
          </ac:spMkLst>
        </pc:spChg>
      </pc:sldChg>
      <pc:sldChg chg="addSp delSp modSp mod">
        <pc:chgData name="Bianca Kloos" userId="1ed430ae-f8fc-464c-8ad4-b70e48b1e366" providerId="ADAL" clId="{966A5E79-C96A-462E-95F5-7E07BDA1B864}" dt="2024-01-22T14:07:08.307" v="10142" actId="20577"/>
        <pc:sldMkLst>
          <pc:docMk/>
          <pc:sldMk cId="3009257912" sldId="2262"/>
        </pc:sldMkLst>
        <pc:spChg chg="mod">
          <ac:chgData name="Bianca Kloos" userId="1ed430ae-f8fc-464c-8ad4-b70e48b1e366" providerId="ADAL" clId="{966A5E79-C96A-462E-95F5-7E07BDA1B864}" dt="2024-01-22T14:07:08.307" v="10142" actId="20577"/>
          <ac:spMkLst>
            <pc:docMk/>
            <pc:sldMk cId="3009257912" sldId="2262"/>
            <ac:spMk id="2" creationId="{EFBCE4F5-9237-43E7-9A9E-D47852245B69}"/>
          </ac:spMkLst>
        </pc:spChg>
        <pc:spChg chg="add del">
          <ac:chgData name="Bianca Kloos" userId="1ed430ae-f8fc-464c-8ad4-b70e48b1e366" providerId="ADAL" clId="{966A5E79-C96A-462E-95F5-7E07BDA1B864}" dt="2024-01-22T13:11:02.856" v="9658"/>
          <ac:spMkLst>
            <pc:docMk/>
            <pc:sldMk cId="3009257912" sldId="2262"/>
            <ac:spMk id="4" creationId="{38623ECD-D50D-49B7-94AB-038B82B333A6}"/>
          </ac:spMkLst>
        </pc:spChg>
        <pc:spChg chg="add del">
          <ac:chgData name="Bianca Kloos" userId="1ed430ae-f8fc-464c-8ad4-b70e48b1e366" providerId="ADAL" clId="{966A5E79-C96A-462E-95F5-7E07BDA1B864}" dt="2024-01-22T13:11:02.856" v="9658"/>
          <ac:spMkLst>
            <pc:docMk/>
            <pc:sldMk cId="3009257912" sldId="2262"/>
            <ac:spMk id="5" creationId="{C70B204E-20BF-494A-A7C4-24C1D444E00B}"/>
          </ac:spMkLst>
        </pc:spChg>
        <pc:spChg chg="mod">
          <ac:chgData name="Bianca Kloos" userId="1ed430ae-f8fc-464c-8ad4-b70e48b1e366" providerId="ADAL" clId="{966A5E79-C96A-462E-95F5-7E07BDA1B864}" dt="2024-01-22T14:06:46.488" v="10139" actId="255"/>
          <ac:spMkLst>
            <pc:docMk/>
            <pc:sldMk cId="3009257912" sldId="2262"/>
            <ac:spMk id="8" creationId="{66A5FD38-7198-40E9-9410-5A5290DDAB7D}"/>
          </ac:spMkLst>
        </pc:spChg>
      </pc:sldChg>
      <pc:sldChg chg="modSp add mod">
        <pc:chgData name="Bianca Kloos" userId="1ed430ae-f8fc-464c-8ad4-b70e48b1e366" providerId="ADAL" clId="{966A5E79-C96A-462E-95F5-7E07BDA1B864}" dt="2024-01-24T12:06:34.018" v="12796" actId="20577"/>
        <pc:sldMkLst>
          <pc:docMk/>
          <pc:sldMk cId="523804557" sldId="2263"/>
        </pc:sldMkLst>
        <pc:spChg chg="mod">
          <ac:chgData name="Bianca Kloos" userId="1ed430ae-f8fc-464c-8ad4-b70e48b1e366" providerId="ADAL" clId="{966A5E79-C96A-462E-95F5-7E07BDA1B864}" dt="2024-01-22T14:10:26.470" v="10311" actId="1076"/>
          <ac:spMkLst>
            <pc:docMk/>
            <pc:sldMk cId="523804557" sldId="2263"/>
            <ac:spMk id="2" creationId="{EFBCE4F5-9237-43E7-9A9E-D47852245B69}"/>
          </ac:spMkLst>
        </pc:spChg>
        <pc:spChg chg="mod">
          <ac:chgData name="Bianca Kloos" userId="1ed430ae-f8fc-464c-8ad4-b70e48b1e366" providerId="ADAL" clId="{966A5E79-C96A-462E-95F5-7E07BDA1B864}" dt="2024-01-24T12:06:34.018" v="12796" actId="20577"/>
          <ac:spMkLst>
            <pc:docMk/>
            <pc:sldMk cId="523804557" sldId="2263"/>
            <ac:spMk id="24" creationId="{6AD113E5-D52B-4E36-A4F2-4093CB3556A9}"/>
          </ac:spMkLst>
        </pc:spChg>
      </pc:sldChg>
      <pc:sldChg chg="new del">
        <pc:chgData name="Bianca Kloos" userId="1ed430ae-f8fc-464c-8ad4-b70e48b1e366" providerId="ADAL" clId="{966A5E79-C96A-462E-95F5-7E07BDA1B864}" dt="2024-01-22T13:18:45.568" v="9800" actId="680"/>
        <pc:sldMkLst>
          <pc:docMk/>
          <pc:sldMk cId="4140273549" sldId="2263"/>
        </pc:sldMkLst>
      </pc:sldChg>
      <pc:sldChg chg="addSp delSp modSp add mod">
        <pc:chgData name="Bianca Kloos" userId="1ed430ae-f8fc-464c-8ad4-b70e48b1e366" providerId="ADAL" clId="{966A5E79-C96A-462E-95F5-7E07BDA1B864}" dt="2024-01-29T10:32:22.446" v="13281" actId="255"/>
        <pc:sldMkLst>
          <pc:docMk/>
          <pc:sldMk cId="436302886" sldId="2264"/>
        </pc:sldMkLst>
        <pc:spChg chg="mod">
          <ac:chgData name="Bianca Kloos" userId="1ed430ae-f8fc-464c-8ad4-b70e48b1e366" providerId="ADAL" clId="{966A5E79-C96A-462E-95F5-7E07BDA1B864}" dt="2024-01-29T10:32:22.446" v="13281" actId="255"/>
          <ac:spMkLst>
            <pc:docMk/>
            <pc:sldMk cId="436302886" sldId="2264"/>
            <ac:spMk id="3" creationId="{81013CC8-88A4-4014-ADEF-1EF9C23B7BBE}"/>
          </ac:spMkLst>
        </pc:spChg>
        <pc:spChg chg="mod">
          <ac:chgData name="Bianca Kloos" userId="1ed430ae-f8fc-464c-8ad4-b70e48b1e366" providerId="ADAL" clId="{966A5E79-C96A-462E-95F5-7E07BDA1B864}" dt="2024-01-24T11:14:05.876" v="10595" actId="20577"/>
          <ac:spMkLst>
            <pc:docMk/>
            <pc:sldMk cId="436302886" sldId="2264"/>
            <ac:spMk id="5" creationId="{28F30666-D76D-44AA-AB02-7FB1BA366836}"/>
          </ac:spMkLst>
        </pc:spChg>
        <pc:spChg chg="add del">
          <ac:chgData name="Bianca Kloos" userId="1ed430ae-f8fc-464c-8ad4-b70e48b1e366" providerId="ADAL" clId="{966A5E79-C96A-462E-95F5-7E07BDA1B864}" dt="2024-01-22T13:26:50.930" v="9999"/>
          <ac:spMkLst>
            <pc:docMk/>
            <pc:sldMk cId="436302886" sldId="2264"/>
            <ac:spMk id="6" creationId="{9AAA52B8-D32D-4CE8-9444-8700B601C707}"/>
          </ac:spMkLst>
        </pc:spChg>
        <pc:spChg chg="add del">
          <ac:chgData name="Bianca Kloos" userId="1ed430ae-f8fc-464c-8ad4-b70e48b1e366" providerId="ADAL" clId="{966A5E79-C96A-462E-95F5-7E07BDA1B864}" dt="2024-01-22T13:26:50.930" v="9999"/>
          <ac:spMkLst>
            <pc:docMk/>
            <pc:sldMk cId="436302886" sldId="2264"/>
            <ac:spMk id="7" creationId="{D20A8811-DCAF-4900-910C-309921193F20}"/>
          </ac:spMkLst>
        </pc:spChg>
        <pc:picChg chg="del mod">
          <ac:chgData name="Bianca Kloos" userId="1ed430ae-f8fc-464c-8ad4-b70e48b1e366" providerId="ADAL" clId="{966A5E79-C96A-462E-95F5-7E07BDA1B864}" dt="2024-01-24T12:11:51.640" v="13274" actId="478"/>
          <ac:picMkLst>
            <pc:docMk/>
            <pc:sldMk cId="436302886" sldId="2264"/>
            <ac:picMk id="4" creationId="{C1299D76-2ADF-4400-855C-977F88DF1242}"/>
          </ac:picMkLst>
        </pc:picChg>
      </pc:sldChg>
      <pc:sldChg chg="new del">
        <pc:chgData name="Bianca Kloos" userId="1ed430ae-f8fc-464c-8ad4-b70e48b1e366" providerId="ADAL" clId="{966A5E79-C96A-462E-95F5-7E07BDA1B864}" dt="2024-01-22T13:25:00.843" v="9990" actId="680"/>
        <pc:sldMkLst>
          <pc:docMk/>
          <pc:sldMk cId="3858033450" sldId="2264"/>
        </pc:sldMkLst>
      </pc:sldChg>
    </pc:docChg>
  </pc:docChgLst>
  <pc:docChgLst>
    <pc:chgData name="Nikki Spuijbroek" userId="S::0116256@zadkine.nl::35a72c9f-edb1-48d7-a9d8-12634795ffc6" providerId="AD" clId="Web-{78326A9F-BCF4-449A-62D0-040B5EB5404B}"/>
    <pc:docChg chg="modSld">
      <pc:chgData name="Nikki Spuijbroek" userId="S::0116256@zadkine.nl::35a72c9f-edb1-48d7-a9d8-12634795ffc6" providerId="AD" clId="Web-{78326A9F-BCF4-449A-62D0-040B5EB5404B}" dt="2024-01-23T13:52:50.869" v="0" actId="20577"/>
      <pc:docMkLst>
        <pc:docMk/>
      </pc:docMkLst>
      <pc:sldChg chg="modSp">
        <pc:chgData name="Nikki Spuijbroek" userId="S::0116256@zadkine.nl::35a72c9f-edb1-48d7-a9d8-12634795ffc6" providerId="AD" clId="Web-{78326A9F-BCF4-449A-62D0-040B5EB5404B}" dt="2024-01-23T13:52:50.869" v="0" actId="20577"/>
        <pc:sldMkLst>
          <pc:docMk/>
          <pc:sldMk cId="1178285814" sldId="2260"/>
        </pc:sldMkLst>
        <pc:spChg chg="mod">
          <ac:chgData name="Nikki Spuijbroek" userId="S::0116256@zadkine.nl::35a72c9f-edb1-48d7-a9d8-12634795ffc6" providerId="AD" clId="Web-{78326A9F-BCF4-449A-62D0-040B5EB5404B}" dt="2024-01-23T13:52:50.869" v="0" actId="20577"/>
          <ac:spMkLst>
            <pc:docMk/>
            <pc:sldMk cId="1178285814" sldId="2260"/>
            <ac:spMk id="10" creationId="{338BD0C8-7DCD-B627-C020-B5F35877D3E2}"/>
          </ac:spMkLst>
        </pc:spChg>
      </pc:sldChg>
    </pc:docChg>
  </pc:docChgLst>
  <pc:docChgLst>
    <pc:chgData name="Claudine de Klerck" userId="S::0111465@zadkine.nl::0cec7c32-4bf4-4c14-baa9-e16208e492aa" providerId="AD" clId="Web-{41C58766-74E2-F0A9-FA0E-84D717A78DBE}"/>
    <pc:docChg chg="modSld">
      <pc:chgData name="Claudine de Klerck" userId="S::0111465@zadkine.nl::0cec7c32-4bf4-4c14-baa9-e16208e492aa" providerId="AD" clId="Web-{41C58766-74E2-F0A9-FA0E-84D717A78DBE}" dt="2024-01-22T16:32:22.306" v="22" actId="20577"/>
      <pc:docMkLst>
        <pc:docMk/>
      </pc:docMkLst>
      <pc:sldChg chg="modSp">
        <pc:chgData name="Claudine de Klerck" userId="S::0111465@zadkine.nl::0cec7c32-4bf4-4c14-baa9-e16208e492aa" providerId="AD" clId="Web-{41C58766-74E2-F0A9-FA0E-84D717A78DBE}" dt="2024-01-22T16:29:42.943" v="12"/>
        <pc:sldMkLst>
          <pc:docMk/>
          <pc:sldMk cId="51898894" sldId="2234"/>
        </pc:sldMkLst>
        <pc:graphicFrameChg chg="mod modGraphic">
          <ac:chgData name="Claudine de Klerck" userId="S::0111465@zadkine.nl::0cec7c32-4bf4-4c14-baa9-e16208e492aa" providerId="AD" clId="Web-{41C58766-74E2-F0A9-FA0E-84D717A78DBE}" dt="2024-01-22T16:29:42.943" v="12"/>
          <ac:graphicFrameMkLst>
            <pc:docMk/>
            <pc:sldMk cId="51898894" sldId="2234"/>
            <ac:graphicFrameMk id="4" creationId="{0F610F96-08AE-48A2-A253-88E06751322E}"/>
          </ac:graphicFrameMkLst>
        </pc:graphicFrameChg>
      </pc:sldChg>
      <pc:sldChg chg="modSp">
        <pc:chgData name="Claudine de Klerck" userId="S::0111465@zadkine.nl::0cec7c32-4bf4-4c14-baa9-e16208e492aa" providerId="AD" clId="Web-{41C58766-74E2-F0A9-FA0E-84D717A78DBE}" dt="2024-01-22T16:30:27.100" v="18"/>
        <pc:sldMkLst>
          <pc:docMk/>
          <pc:sldMk cId="783269556" sldId="2249"/>
        </pc:sldMkLst>
        <pc:graphicFrameChg chg="mod modGraphic">
          <ac:chgData name="Claudine de Klerck" userId="S::0111465@zadkine.nl::0cec7c32-4bf4-4c14-baa9-e16208e492aa" providerId="AD" clId="Web-{41C58766-74E2-F0A9-FA0E-84D717A78DBE}" dt="2024-01-22T16:30:27.100" v="18"/>
          <ac:graphicFrameMkLst>
            <pc:docMk/>
            <pc:sldMk cId="783269556" sldId="2249"/>
            <ac:graphicFrameMk id="4" creationId="{9E287BCA-2230-495B-AB95-C3ED7767CC4C}"/>
          </ac:graphicFrameMkLst>
        </pc:graphicFrameChg>
      </pc:sldChg>
      <pc:sldChg chg="modSp">
        <pc:chgData name="Claudine de Klerck" userId="S::0111465@zadkine.nl::0cec7c32-4bf4-4c14-baa9-e16208e492aa" providerId="AD" clId="Web-{41C58766-74E2-F0A9-FA0E-84D717A78DBE}" dt="2024-01-22T16:32:22.306" v="22" actId="20577"/>
        <pc:sldMkLst>
          <pc:docMk/>
          <pc:sldMk cId="1178285814" sldId="2260"/>
        </pc:sldMkLst>
        <pc:spChg chg="mod">
          <ac:chgData name="Claudine de Klerck" userId="S::0111465@zadkine.nl::0cec7c32-4bf4-4c14-baa9-e16208e492aa" providerId="AD" clId="Web-{41C58766-74E2-F0A9-FA0E-84D717A78DBE}" dt="2024-01-22T16:32:22.306" v="22" actId="20577"/>
          <ac:spMkLst>
            <pc:docMk/>
            <pc:sldMk cId="1178285814" sldId="2260"/>
            <ac:spMk id="10" creationId="{338BD0C8-7DCD-B627-C020-B5F35877D3E2}"/>
          </ac:spMkLst>
        </pc:spChg>
      </pc:sldChg>
      <pc:sldChg chg="modSp">
        <pc:chgData name="Claudine de Klerck" userId="S::0111465@zadkine.nl::0cec7c32-4bf4-4c14-baa9-e16208e492aa" providerId="AD" clId="Web-{41C58766-74E2-F0A9-FA0E-84D717A78DBE}" dt="2024-01-22T16:26:17.188" v="6" actId="20577"/>
        <pc:sldMkLst>
          <pc:docMk/>
          <pc:sldMk cId="3009257912" sldId="2262"/>
        </pc:sldMkLst>
        <pc:spChg chg="mod">
          <ac:chgData name="Claudine de Klerck" userId="S::0111465@zadkine.nl::0cec7c32-4bf4-4c14-baa9-e16208e492aa" providerId="AD" clId="Web-{41C58766-74E2-F0A9-FA0E-84D717A78DBE}" dt="2024-01-22T16:26:17.188" v="6" actId="20577"/>
          <ac:spMkLst>
            <pc:docMk/>
            <pc:sldMk cId="3009257912" sldId="2262"/>
            <ac:spMk id="8" creationId="{66A5FD38-7198-40E9-9410-5A5290DDAB7D}"/>
          </ac:spMkLst>
        </pc:spChg>
      </pc:sldChg>
    </pc:docChg>
  </pc:docChgLst>
  <pc:docChgLst>
    <pc:chgData name="Nikki Spuijbroek" userId="S::0116256@zadkine.nl::35a72c9f-edb1-48d7-a9d8-12634795ffc6" providerId="AD" clId="Web-{803BBB2E-3290-0EEA-A0F0-3E50B7E7AA45}"/>
    <pc:docChg chg="modSld">
      <pc:chgData name="Nikki Spuijbroek" userId="S::0116256@zadkine.nl::35a72c9f-edb1-48d7-a9d8-12634795ffc6" providerId="AD" clId="Web-{803BBB2E-3290-0EEA-A0F0-3E50B7E7AA45}" dt="2024-01-16T13:23:54.848" v="20" actId="20577"/>
      <pc:docMkLst>
        <pc:docMk/>
      </pc:docMkLst>
      <pc:sldChg chg="modSp">
        <pc:chgData name="Nikki Spuijbroek" userId="S::0116256@zadkine.nl::35a72c9f-edb1-48d7-a9d8-12634795ffc6" providerId="AD" clId="Web-{803BBB2E-3290-0EEA-A0F0-3E50B7E7AA45}" dt="2024-01-16T13:23:50.801" v="18" actId="20577"/>
        <pc:sldMkLst>
          <pc:docMk/>
          <pc:sldMk cId="33432717" sldId="2235"/>
        </pc:sldMkLst>
        <pc:spChg chg="mod">
          <ac:chgData name="Nikki Spuijbroek" userId="S::0116256@zadkine.nl::35a72c9f-edb1-48d7-a9d8-12634795ffc6" providerId="AD" clId="Web-{803BBB2E-3290-0EEA-A0F0-3E50B7E7AA45}" dt="2024-01-16T13:23:50.801" v="18" actId="20577"/>
          <ac:spMkLst>
            <pc:docMk/>
            <pc:sldMk cId="33432717" sldId="2235"/>
            <ac:spMk id="13" creationId="{13904F82-82FE-E942-E0EE-3F8591D15761}"/>
          </ac:spMkLst>
        </pc:spChg>
      </pc:sldChg>
      <pc:sldChg chg="modSp">
        <pc:chgData name="Nikki Spuijbroek" userId="S::0116256@zadkine.nl::35a72c9f-edb1-48d7-a9d8-12634795ffc6" providerId="AD" clId="Web-{803BBB2E-3290-0EEA-A0F0-3E50B7E7AA45}" dt="2024-01-16T13:23:54.848" v="20" actId="20577"/>
        <pc:sldMkLst>
          <pc:docMk/>
          <pc:sldMk cId="1178285814" sldId="2260"/>
        </pc:sldMkLst>
        <pc:spChg chg="mod">
          <ac:chgData name="Nikki Spuijbroek" userId="S::0116256@zadkine.nl::35a72c9f-edb1-48d7-a9d8-12634795ffc6" providerId="AD" clId="Web-{803BBB2E-3290-0EEA-A0F0-3E50B7E7AA45}" dt="2024-01-16T13:23:54.848" v="20" actId="20577"/>
          <ac:spMkLst>
            <pc:docMk/>
            <pc:sldMk cId="1178285814" sldId="2260"/>
            <ac:spMk id="10" creationId="{338BD0C8-7DCD-B627-C020-B5F35877D3E2}"/>
          </ac:spMkLst>
        </pc:spChg>
      </pc:sldChg>
    </pc:docChg>
  </pc:docChgLst>
  <pc:docChgLst>
    <pc:chgData name="Claudine de Klerck" userId="0cec7c32-4bf4-4c14-baa9-e16208e492aa" providerId="ADAL" clId="{15461509-F9C6-4734-A490-25C9042FB5BB}"/>
    <pc:docChg chg="custSel delSld modSld">
      <pc:chgData name="Claudine de Klerck" userId="0cec7c32-4bf4-4c14-baa9-e16208e492aa" providerId="ADAL" clId="{15461509-F9C6-4734-A490-25C9042FB5BB}" dt="2024-02-13T16:30:37.538" v="52" actId="47"/>
      <pc:docMkLst>
        <pc:docMk/>
      </pc:docMkLst>
      <pc:sldChg chg="delSp modSp mod">
        <pc:chgData name="Claudine de Klerck" userId="0cec7c32-4bf4-4c14-baa9-e16208e492aa" providerId="ADAL" clId="{15461509-F9C6-4734-A490-25C9042FB5BB}" dt="2024-02-13T16:29:39.521" v="48" actId="21"/>
        <pc:sldMkLst>
          <pc:docMk/>
          <pc:sldMk cId="3856254828" sldId="290"/>
        </pc:sldMkLst>
        <pc:spChg chg="mod">
          <ac:chgData name="Claudine de Klerck" userId="0cec7c32-4bf4-4c14-baa9-e16208e492aa" providerId="ADAL" clId="{15461509-F9C6-4734-A490-25C9042FB5BB}" dt="2024-02-13T16:29:30.411" v="47" actId="20577"/>
          <ac:spMkLst>
            <pc:docMk/>
            <pc:sldMk cId="3856254828" sldId="290"/>
            <ac:spMk id="5" creationId="{43B522E9-DF81-43A9-B597-7758AB2ABD87}"/>
          </ac:spMkLst>
        </pc:spChg>
        <pc:spChg chg="del">
          <ac:chgData name="Claudine de Klerck" userId="0cec7c32-4bf4-4c14-baa9-e16208e492aa" providerId="ADAL" clId="{15461509-F9C6-4734-A490-25C9042FB5BB}" dt="2024-02-13T16:29:39.521" v="48" actId="21"/>
          <ac:spMkLst>
            <pc:docMk/>
            <pc:sldMk cId="3856254828" sldId="290"/>
            <ac:spMk id="7" creationId="{28014935-747A-4088-9731-C4904AB70618}"/>
          </ac:spMkLst>
        </pc:spChg>
      </pc:sldChg>
      <pc:sldChg chg="del">
        <pc:chgData name="Claudine de Klerck" userId="0cec7c32-4bf4-4c14-baa9-e16208e492aa" providerId="ADAL" clId="{15461509-F9C6-4734-A490-25C9042FB5BB}" dt="2024-02-13T16:30:33.701" v="51" actId="2696"/>
        <pc:sldMkLst>
          <pc:docMk/>
          <pc:sldMk cId="33432717" sldId="2235"/>
        </pc:sldMkLst>
      </pc:sldChg>
      <pc:sldChg chg="del">
        <pc:chgData name="Claudine de Klerck" userId="0cec7c32-4bf4-4c14-baa9-e16208e492aa" providerId="ADAL" clId="{15461509-F9C6-4734-A490-25C9042FB5BB}" dt="2024-02-13T16:30:03.128" v="49" actId="2696"/>
        <pc:sldMkLst>
          <pc:docMk/>
          <pc:sldMk cId="946090577" sldId="2259"/>
        </pc:sldMkLst>
      </pc:sldChg>
      <pc:sldChg chg="del">
        <pc:chgData name="Claudine de Klerck" userId="0cec7c32-4bf4-4c14-baa9-e16208e492aa" providerId="ADAL" clId="{15461509-F9C6-4734-A490-25C9042FB5BB}" dt="2024-02-13T16:30:37.538" v="52" actId="47"/>
        <pc:sldMkLst>
          <pc:docMk/>
          <pc:sldMk cId="1178285814" sldId="2260"/>
        </pc:sldMkLst>
      </pc:sldChg>
      <pc:sldChg chg="del">
        <pc:chgData name="Claudine de Klerck" userId="0cec7c32-4bf4-4c14-baa9-e16208e492aa" providerId="ADAL" clId="{15461509-F9C6-4734-A490-25C9042FB5BB}" dt="2024-02-13T16:30:06.772" v="50" actId="2696"/>
        <pc:sldMkLst>
          <pc:docMk/>
          <pc:sldMk cId="3009257912" sldId="2262"/>
        </pc:sldMkLst>
      </pc:sldChg>
    </pc:docChg>
  </pc:docChgLst>
  <pc:docChgLst>
    <pc:chgData name="Regina Schouten" userId="S::0113712@zadkine.nl::7d98f1ad-ec4f-4f3f-939b-c1c694c82f58" providerId="AD" clId="Web-{FB6006F0-8DD5-49E1-B2E4-E4CBA7453051}"/>
    <pc:docChg chg="modSld">
      <pc:chgData name="Regina Schouten" userId="S::0113712@zadkine.nl::7d98f1ad-ec4f-4f3f-939b-c1c694c82f58" providerId="AD" clId="Web-{FB6006F0-8DD5-49E1-B2E4-E4CBA7453051}" dt="2024-01-22T14:58:56.369" v="223" actId="20577"/>
      <pc:docMkLst>
        <pc:docMk/>
      </pc:docMkLst>
      <pc:sldChg chg="modSp">
        <pc:chgData name="Regina Schouten" userId="S::0113712@zadkine.nl::7d98f1ad-ec4f-4f3f-939b-c1c694c82f58" providerId="AD" clId="Web-{FB6006F0-8DD5-49E1-B2E4-E4CBA7453051}" dt="2024-01-22T14:58:56.369" v="223" actId="20577"/>
        <pc:sldMkLst>
          <pc:docMk/>
          <pc:sldMk cId="33432717" sldId="2235"/>
        </pc:sldMkLst>
        <pc:spChg chg="mod">
          <ac:chgData name="Regina Schouten" userId="S::0113712@zadkine.nl::7d98f1ad-ec4f-4f3f-939b-c1c694c82f58" providerId="AD" clId="Web-{FB6006F0-8DD5-49E1-B2E4-E4CBA7453051}" dt="2024-01-22T14:58:56.369" v="223" actId="20577"/>
          <ac:spMkLst>
            <pc:docMk/>
            <pc:sldMk cId="33432717" sldId="2235"/>
            <ac:spMk id="13" creationId="{13904F82-82FE-E942-E0EE-3F8591D15761}"/>
          </ac:spMkLst>
        </pc:spChg>
      </pc:sldChg>
    </pc:docChg>
  </pc:docChgLst>
  <pc:docChgLst>
    <pc:chgData name="Nikki Spuijbroek" userId="S::0116256@zadkine.nl::35a72c9f-edb1-48d7-a9d8-12634795ffc6" providerId="AD" clId="Web-{6D894BE5-5898-D479-317C-BF5F24B8DC04}"/>
    <pc:docChg chg="modSld">
      <pc:chgData name="Nikki Spuijbroek" userId="S::0116256@zadkine.nl::35a72c9f-edb1-48d7-a9d8-12634795ffc6" providerId="AD" clId="Web-{6D894BE5-5898-D479-317C-BF5F24B8DC04}" dt="2024-01-23T10:09:28.511" v="9"/>
      <pc:docMkLst>
        <pc:docMk/>
      </pc:docMkLst>
      <pc:sldChg chg="modSp">
        <pc:chgData name="Nikki Spuijbroek" userId="S::0116256@zadkine.nl::35a72c9f-edb1-48d7-a9d8-12634795ffc6" providerId="AD" clId="Web-{6D894BE5-5898-D479-317C-BF5F24B8DC04}" dt="2024-01-23T10:09:28.511" v="9"/>
        <pc:sldMkLst>
          <pc:docMk/>
          <pc:sldMk cId="51898894" sldId="2234"/>
        </pc:sldMkLst>
        <pc:graphicFrameChg chg="mod modGraphic">
          <ac:chgData name="Nikki Spuijbroek" userId="S::0116256@zadkine.nl::35a72c9f-edb1-48d7-a9d8-12634795ffc6" providerId="AD" clId="Web-{6D894BE5-5898-D479-317C-BF5F24B8DC04}" dt="2024-01-23T10:09:28.511" v="9"/>
          <ac:graphicFrameMkLst>
            <pc:docMk/>
            <pc:sldMk cId="51898894" sldId="2234"/>
            <ac:graphicFrameMk id="4" creationId="{0F610F96-08AE-48A2-A253-88E06751322E}"/>
          </ac:graphicFrameMkLst>
        </pc:graphicFrameChg>
      </pc:sldChg>
      <pc:sldChg chg="modSp">
        <pc:chgData name="Nikki Spuijbroek" userId="S::0116256@zadkine.nl::35a72c9f-edb1-48d7-a9d8-12634795ffc6" providerId="AD" clId="Web-{6D894BE5-5898-D479-317C-BF5F24B8DC04}" dt="2024-01-23T10:08:27.884" v="1" actId="20577"/>
        <pc:sldMkLst>
          <pc:docMk/>
          <pc:sldMk cId="3009257912" sldId="2262"/>
        </pc:sldMkLst>
        <pc:spChg chg="mod">
          <ac:chgData name="Nikki Spuijbroek" userId="S::0116256@zadkine.nl::35a72c9f-edb1-48d7-a9d8-12634795ffc6" providerId="AD" clId="Web-{6D894BE5-5898-D479-317C-BF5F24B8DC04}" dt="2024-01-23T10:08:27.884" v="1" actId="20577"/>
          <ac:spMkLst>
            <pc:docMk/>
            <pc:sldMk cId="3009257912" sldId="2262"/>
            <ac:spMk id="8" creationId="{66A5FD38-7198-40E9-9410-5A5290DDAB7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DCB51676-E35F-4437-A205-04DA7F3D8001}"/>
              </a:ext>
            </a:extLst>
          </p:cNvPr>
          <p:cNvSpPr>
            <a:spLocks noGrp="1"/>
          </p:cNvSpPr>
          <p:nvPr>
            <p:ph type="dt" sz="quarter" idx="1"/>
          </p:nvPr>
        </p:nvSpPr>
        <p:spPr>
          <a:xfrm>
            <a:off x="4747044" y="9428583"/>
            <a:ext cx="1461499" cy="498056"/>
          </a:xfrm>
          <a:prstGeom prst="rect">
            <a:avLst/>
          </a:prstGeom>
        </p:spPr>
        <p:txBody>
          <a:bodyPr vert="horz" lIns="95561" tIns="47781" rIns="95561" bIns="47781" rtlCol="0" anchor="b" anchorCtr="0"/>
          <a:lstStyle>
            <a:lvl1pPr algn="r">
              <a:defRPr sz="1300"/>
            </a:lvl1pPr>
          </a:lstStyle>
          <a:p>
            <a:fld id="{FE2AA6E1-F766-4FFF-A8D1-C8C1724AEAD1}" type="datetimeFigureOut">
              <a:rPr lang="nl-NL" smtClean="0"/>
              <a:t>13-2-2024</a:t>
            </a:fld>
            <a:endParaRPr lang="nl-NL"/>
          </a:p>
        </p:txBody>
      </p:sp>
      <p:sp>
        <p:nvSpPr>
          <p:cNvPr id="4" name="Tijdelijke aanduiding voor voettekst 3">
            <a:extLst>
              <a:ext uri="{FF2B5EF4-FFF2-40B4-BE49-F238E27FC236}">
                <a16:creationId xmlns:a16="http://schemas.microsoft.com/office/drawing/2014/main" id="{24F12770-FDC0-45D8-B32D-CE5D2F54F48C}"/>
              </a:ext>
            </a:extLst>
          </p:cNvPr>
          <p:cNvSpPr>
            <a:spLocks noGrp="1"/>
          </p:cNvSpPr>
          <p:nvPr>
            <p:ph type="ftr" sz="quarter" idx="2"/>
          </p:nvPr>
        </p:nvSpPr>
        <p:spPr>
          <a:xfrm>
            <a:off x="1" y="9428584"/>
            <a:ext cx="4747043" cy="498055"/>
          </a:xfrm>
          <a:prstGeom prst="rect">
            <a:avLst/>
          </a:prstGeom>
        </p:spPr>
        <p:txBody>
          <a:bodyPr vert="horz" lIns="95561" tIns="47781" rIns="95561" bIns="47781" rtlCol="0" anchor="b"/>
          <a:lstStyle>
            <a:lvl1pPr algn="l">
              <a:defRPr sz="1300"/>
            </a:lvl1pPr>
          </a:lstStyle>
          <a:p>
            <a:pPr algn="r"/>
            <a:endParaRPr lang="nl-NL" b="1"/>
          </a:p>
        </p:txBody>
      </p:sp>
      <p:sp>
        <p:nvSpPr>
          <p:cNvPr id="5" name="Tijdelijke aanduiding voor dianummer 4">
            <a:extLst>
              <a:ext uri="{FF2B5EF4-FFF2-40B4-BE49-F238E27FC236}">
                <a16:creationId xmlns:a16="http://schemas.microsoft.com/office/drawing/2014/main" id="{C36EBF3E-3806-4CCC-B6B4-3124D20CE816}"/>
              </a:ext>
            </a:extLst>
          </p:cNvPr>
          <p:cNvSpPr>
            <a:spLocks noGrp="1"/>
          </p:cNvSpPr>
          <p:nvPr>
            <p:ph type="sldNum" sz="quarter" idx="3"/>
          </p:nvPr>
        </p:nvSpPr>
        <p:spPr>
          <a:xfrm>
            <a:off x="6208544" y="9428584"/>
            <a:ext cx="587558" cy="498055"/>
          </a:xfrm>
          <a:prstGeom prst="rect">
            <a:avLst/>
          </a:prstGeom>
        </p:spPr>
        <p:txBody>
          <a:bodyPr vert="horz" lIns="95561" tIns="47781" rIns="95561" bIns="47781" rtlCol="0" anchor="b"/>
          <a:lstStyle>
            <a:lvl1pPr algn="r">
              <a:defRPr sz="1300"/>
            </a:lvl1pPr>
          </a:lstStyle>
          <a:p>
            <a:fld id="{FB162BF1-4299-46D7-ACC1-19DBD14448CD}" type="slidenum">
              <a:rPr lang="nl-NL" smtClean="0"/>
              <a:t>‹nr.›</a:t>
            </a:fld>
            <a:endParaRPr lang="nl-NL"/>
          </a:p>
        </p:txBody>
      </p:sp>
    </p:spTree>
    <p:extLst>
      <p:ext uri="{BB962C8B-B14F-4D97-AF65-F5344CB8AC3E}">
        <p14:creationId xmlns:p14="http://schemas.microsoft.com/office/powerpoint/2010/main" val="12626100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jdelijke aanduiding voor datum 2"/>
          <p:cNvSpPr>
            <a:spLocks noGrp="1"/>
          </p:cNvSpPr>
          <p:nvPr>
            <p:ph type="dt" idx="1"/>
          </p:nvPr>
        </p:nvSpPr>
        <p:spPr>
          <a:xfrm>
            <a:off x="4720608" y="9428584"/>
            <a:ext cx="1397297" cy="498056"/>
          </a:xfrm>
          <a:prstGeom prst="rect">
            <a:avLst/>
          </a:prstGeom>
        </p:spPr>
        <p:txBody>
          <a:bodyPr vert="horz" lIns="95561" tIns="47781" rIns="95561" bIns="47781" rtlCol="0" anchor="b" anchorCtr="0"/>
          <a:lstStyle>
            <a:lvl1pPr algn="r">
              <a:defRPr sz="1300"/>
            </a:lvl1pPr>
          </a:lstStyle>
          <a:p>
            <a:fld id="{7FA5A4EA-0B58-434E-A7ED-B572FBA6A0BF}" type="datetimeFigureOut">
              <a:rPr lang="nl-NL" smtClean="0"/>
              <a:t>13-2-2024</a:t>
            </a:fld>
            <a:endParaRPr lang="nl-NL"/>
          </a:p>
        </p:txBody>
      </p:sp>
      <p:sp>
        <p:nvSpPr>
          <p:cNvPr id="4" name="Tijdelijke aanduiding voor dia-afbeelding 3"/>
          <p:cNvSpPr>
            <a:spLocks noGrp="1" noRot="1" noChangeAspect="1"/>
          </p:cNvSpPr>
          <p:nvPr>
            <p:ph type="sldImg" idx="2"/>
          </p:nvPr>
        </p:nvSpPr>
        <p:spPr bwMode="gray">
          <a:xfrm>
            <a:off x="422275" y="1241425"/>
            <a:ext cx="5953125" cy="3349625"/>
          </a:xfrm>
          <a:prstGeom prst="rect">
            <a:avLst/>
          </a:prstGeom>
          <a:noFill/>
          <a:ln w="12700">
            <a:solidFill>
              <a:prstClr val="black"/>
            </a:solidFill>
          </a:ln>
        </p:spPr>
        <p:txBody>
          <a:bodyPr vert="horz" lIns="95561" tIns="47781" rIns="95561" bIns="47781" rtlCol="0" anchor="ctr"/>
          <a:lstStyle/>
          <a:p>
            <a:endParaRPr lang="nl-NL"/>
          </a:p>
        </p:txBody>
      </p:sp>
      <p:sp>
        <p:nvSpPr>
          <p:cNvPr id="5" name="Tijdelijke aanduiding voor notities 4"/>
          <p:cNvSpPr>
            <a:spLocks noGrp="1"/>
          </p:cNvSpPr>
          <p:nvPr>
            <p:ph type="body" sz="quarter" idx="3"/>
          </p:nvPr>
        </p:nvSpPr>
        <p:spPr>
          <a:xfrm>
            <a:off x="679768" y="4777195"/>
            <a:ext cx="5438140" cy="3908613"/>
          </a:xfrm>
          <a:prstGeom prst="rect">
            <a:avLst/>
          </a:prstGeom>
        </p:spPr>
        <p:txBody>
          <a:bodyPr vert="horz" lIns="0" tIns="0" rIns="0" bIns="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1" y="9428584"/>
            <a:ext cx="4720606" cy="498055"/>
          </a:xfrm>
          <a:prstGeom prst="rect">
            <a:avLst/>
          </a:prstGeom>
        </p:spPr>
        <p:txBody>
          <a:bodyPr vert="horz" lIns="95561" tIns="47781" rIns="95561" bIns="47781" rtlCol="0" anchor="b"/>
          <a:lstStyle>
            <a:lvl1pPr algn="r">
              <a:defRPr sz="1300" b="1"/>
            </a:lvl1pPr>
          </a:lstStyle>
          <a:p>
            <a:endParaRPr lang="nl-NL"/>
          </a:p>
        </p:txBody>
      </p:sp>
      <p:sp>
        <p:nvSpPr>
          <p:cNvPr id="7" name="Tijdelijke aanduiding voor dianummer 6"/>
          <p:cNvSpPr>
            <a:spLocks noGrp="1"/>
          </p:cNvSpPr>
          <p:nvPr>
            <p:ph type="sldNum" sz="quarter" idx="5"/>
          </p:nvPr>
        </p:nvSpPr>
        <p:spPr>
          <a:xfrm>
            <a:off x="6117907" y="9428584"/>
            <a:ext cx="678195" cy="498055"/>
          </a:xfrm>
          <a:prstGeom prst="rect">
            <a:avLst/>
          </a:prstGeom>
        </p:spPr>
        <p:txBody>
          <a:bodyPr vert="horz" lIns="95561" tIns="47781" rIns="95561" bIns="47781" rtlCol="0" anchor="b"/>
          <a:lstStyle>
            <a:lvl1pPr algn="r">
              <a:defRPr sz="1300"/>
            </a:lvl1pPr>
          </a:lstStyle>
          <a:p>
            <a:fld id="{A8D3687C-5258-465D-9098-CAB3EDB5B60B}" type="slidenum">
              <a:rPr lang="nl-NL" smtClean="0"/>
              <a:t>‹nr.›</a:t>
            </a:fld>
            <a:endParaRPr lang="nl-NL"/>
          </a:p>
        </p:txBody>
      </p:sp>
    </p:spTree>
    <p:extLst>
      <p:ext uri="{BB962C8B-B14F-4D97-AF65-F5344CB8AC3E}">
        <p14:creationId xmlns:p14="http://schemas.microsoft.com/office/powerpoint/2010/main" val="1538595434"/>
      </p:ext>
    </p:extLst>
  </p:cSld>
  <p:clrMap bg1="lt1" tx1="dk1" bg2="lt2" tx2="dk2" accent1="accent1" accent2="accent2" accent3="accent3" accent4="accent4" accent5="accent5" accent6="accent6" hlink="hlink" folHlink="folHlink"/>
  <p:notesStyle>
    <a:lvl1pPr marL="0" indent="-288000" algn="l" defTabSz="914400" rtl="0" eaLnBrk="1" latinLnBrk="0" hangingPunct="1">
      <a:defRPr sz="1000" kern="1200">
        <a:solidFill>
          <a:schemeClr val="tx1"/>
        </a:solidFill>
        <a:latin typeface="+mn-lt"/>
        <a:ea typeface="+mn-ea"/>
        <a:cs typeface="+mn-cs"/>
      </a:defRPr>
    </a:lvl1pPr>
    <a:lvl2pPr marL="576000" indent="-288000" algn="l" defTabSz="914400" rtl="0" eaLnBrk="1" latinLnBrk="0" hangingPunct="1">
      <a:defRPr sz="1000" kern="1200">
        <a:solidFill>
          <a:schemeClr val="tx1"/>
        </a:solidFill>
        <a:latin typeface="+mn-lt"/>
        <a:ea typeface="+mn-ea"/>
        <a:cs typeface="+mn-cs"/>
      </a:defRPr>
    </a:lvl2pPr>
    <a:lvl3pPr marL="864000" indent="-288000" algn="l" defTabSz="914400" rtl="0" eaLnBrk="1" latinLnBrk="0" hangingPunct="1">
      <a:defRPr sz="1000" kern="1200">
        <a:solidFill>
          <a:schemeClr val="tx1"/>
        </a:solidFill>
        <a:latin typeface="+mn-lt"/>
        <a:ea typeface="+mn-ea"/>
        <a:cs typeface="+mn-cs"/>
      </a:defRPr>
    </a:lvl3pPr>
    <a:lvl4pPr marL="1152000" indent="-288000" algn="l" defTabSz="914400" rtl="0" eaLnBrk="1" latinLnBrk="0" hangingPunct="1">
      <a:defRPr sz="1000" kern="1200">
        <a:solidFill>
          <a:schemeClr val="tx1"/>
        </a:solidFill>
        <a:latin typeface="+mn-lt"/>
        <a:ea typeface="+mn-ea"/>
        <a:cs typeface="+mn-cs"/>
      </a:defRPr>
    </a:lvl4pPr>
    <a:lvl5pPr marL="1440000" indent="-288000" algn="l" defTabSz="914400" rtl="0" eaLnBrk="1" latinLnBrk="0" hangingPunct="1">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A8D3687C-5258-465D-9098-CAB3EDB5B60B}" type="slidenum">
              <a:rPr lang="nl-NL" smtClean="0"/>
              <a:t>2</a:t>
            </a:fld>
            <a:endParaRPr lang="nl-NL"/>
          </a:p>
        </p:txBody>
      </p:sp>
    </p:spTree>
    <p:extLst>
      <p:ext uri="{BB962C8B-B14F-4D97-AF65-F5344CB8AC3E}">
        <p14:creationId xmlns:p14="http://schemas.microsoft.com/office/powerpoint/2010/main" val="17715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A8D3687C-5258-465D-9098-CAB3EDB5B60B}" type="slidenum">
              <a:rPr lang="nl-NL" smtClean="0"/>
              <a:t>3</a:t>
            </a:fld>
            <a:endParaRPr lang="nl-NL"/>
          </a:p>
        </p:txBody>
      </p:sp>
    </p:spTree>
    <p:extLst>
      <p:ext uri="{BB962C8B-B14F-4D97-AF65-F5344CB8AC3E}">
        <p14:creationId xmlns:p14="http://schemas.microsoft.com/office/powerpoint/2010/main" val="116885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A8D3687C-5258-465D-9098-CAB3EDB5B60B}" type="slidenum">
              <a:rPr lang="nl-NL" smtClean="0"/>
              <a:t>4</a:t>
            </a:fld>
            <a:endParaRPr lang="nl-NL"/>
          </a:p>
        </p:txBody>
      </p:sp>
    </p:spTree>
    <p:extLst>
      <p:ext uri="{BB962C8B-B14F-4D97-AF65-F5344CB8AC3E}">
        <p14:creationId xmlns:p14="http://schemas.microsoft.com/office/powerpoint/2010/main" val="2802435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A8D3687C-5258-465D-9098-CAB3EDB5B60B}" type="slidenum">
              <a:rPr lang="nl-NL" smtClean="0"/>
              <a:t>5</a:t>
            </a:fld>
            <a:endParaRPr lang="nl-NL"/>
          </a:p>
        </p:txBody>
      </p:sp>
    </p:spTree>
    <p:extLst>
      <p:ext uri="{BB962C8B-B14F-4D97-AF65-F5344CB8AC3E}">
        <p14:creationId xmlns:p14="http://schemas.microsoft.com/office/powerpoint/2010/main" val="31119565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5D7A2EA2-44ED-468E-9052-4588941C1257}"/>
              </a:ext>
            </a:extLst>
          </p:cNvPr>
          <p:cNvSpPr/>
          <p:nvPr userDrawn="1"/>
        </p:nvSpPr>
        <p:spPr bwMode="white">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D943FCFA-EF8D-47FE-BA9A-240EBC3DA098}"/>
              </a:ext>
            </a:extLst>
          </p:cNvPr>
          <p:cNvSpPr>
            <a:spLocks noGrp="1"/>
          </p:cNvSpPr>
          <p:nvPr>
            <p:ph type="ctrTitle"/>
          </p:nvPr>
        </p:nvSpPr>
        <p:spPr>
          <a:xfrm>
            <a:off x="611998" y="612000"/>
            <a:ext cx="10965600" cy="1371600"/>
          </a:xfrm>
        </p:spPr>
        <p:txBody>
          <a:bodyPr anchor="b">
            <a:noAutofit/>
          </a:bodyPr>
          <a:lstStyle>
            <a:lvl1pPr algn="l">
              <a:lnSpc>
                <a:spcPts val="5400"/>
              </a:lnSpc>
              <a:defRPr sz="4500"/>
            </a:lvl1pPr>
          </a:lstStyle>
          <a:p>
            <a:r>
              <a:rPr lang="nl-NL"/>
              <a:t>Klik om stijl te bewerken</a:t>
            </a:r>
          </a:p>
        </p:txBody>
      </p:sp>
      <p:sp>
        <p:nvSpPr>
          <p:cNvPr id="3" name="Ondertitel 2">
            <a:extLst>
              <a:ext uri="{FF2B5EF4-FFF2-40B4-BE49-F238E27FC236}">
                <a16:creationId xmlns:a16="http://schemas.microsoft.com/office/drawing/2014/main" id="{D832008F-3819-49FB-AE1C-DFE63531E153}"/>
              </a:ext>
            </a:extLst>
          </p:cNvPr>
          <p:cNvSpPr>
            <a:spLocks noGrp="1"/>
          </p:cNvSpPr>
          <p:nvPr>
            <p:ph type="subTitle" idx="1"/>
          </p:nvPr>
        </p:nvSpPr>
        <p:spPr>
          <a:xfrm>
            <a:off x="611998" y="1983600"/>
            <a:ext cx="10965600" cy="1371600"/>
          </a:xfrm>
        </p:spPr>
        <p:txBody>
          <a:bodyPr>
            <a:noAutofit/>
          </a:bodyPr>
          <a:lstStyle>
            <a:lvl1pPr marL="0" indent="0" algn="l">
              <a:lnSpc>
                <a:spcPts val="5400"/>
              </a:lnSpc>
              <a:buNone/>
              <a:defRPr sz="4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grpSp>
        <p:nvGrpSpPr>
          <p:cNvPr id="14" name="Groep 13">
            <a:extLst>
              <a:ext uri="{FF2B5EF4-FFF2-40B4-BE49-F238E27FC236}">
                <a16:creationId xmlns:a16="http://schemas.microsoft.com/office/drawing/2014/main" id="{5B620982-55E5-4595-A895-8577E40DCDCD}"/>
              </a:ext>
            </a:extLst>
          </p:cNvPr>
          <p:cNvGrpSpPr>
            <a:grpSpLocks noChangeAspect="1"/>
          </p:cNvGrpSpPr>
          <p:nvPr userDrawn="1"/>
        </p:nvGrpSpPr>
        <p:grpSpPr bwMode="ltGray">
          <a:xfrm>
            <a:off x="611998" y="4446000"/>
            <a:ext cx="1800000" cy="1800000"/>
            <a:chOff x="2678113" y="0"/>
            <a:chExt cx="6835775" cy="6858000"/>
          </a:xfrm>
        </p:grpSpPr>
        <p:sp>
          <p:nvSpPr>
            <p:cNvPr id="12" name="Rectangle 5">
              <a:extLst>
                <a:ext uri="{FF2B5EF4-FFF2-40B4-BE49-F238E27FC236}">
                  <a16:creationId xmlns:a16="http://schemas.microsoft.com/office/drawing/2014/main" id="{BA505D61-25E5-4FA0-AFC1-218D479F0374}"/>
                </a:ext>
              </a:extLst>
            </p:cNvPr>
            <p:cNvSpPr>
              <a:spLocks noChangeArrowheads="1"/>
            </p:cNvSpPr>
            <p:nvPr userDrawn="1"/>
          </p:nvSpPr>
          <p:spPr bwMode="ltGray">
            <a:xfrm>
              <a:off x="2678113" y="0"/>
              <a:ext cx="6835775" cy="6858000"/>
            </a:xfrm>
            <a:prstGeom prst="rect">
              <a:avLst/>
            </a:prstGeom>
            <a:solidFill>
              <a:srgbClr val="D703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6">
              <a:extLst>
                <a:ext uri="{FF2B5EF4-FFF2-40B4-BE49-F238E27FC236}">
                  <a16:creationId xmlns:a16="http://schemas.microsoft.com/office/drawing/2014/main" id="{C32215B3-4D39-431B-BE24-D86663452CAA}"/>
                </a:ext>
              </a:extLst>
            </p:cNvPr>
            <p:cNvSpPr>
              <a:spLocks noEditPoints="1"/>
            </p:cNvSpPr>
            <p:nvPr userDrawn="1"/>
          </p:nvSpPr>
          <p:spPr bwMode="ltGray">
            <a:xfrm>
              <a:off x="3224213" y="2870200"/>
              <a:ext cx="5734050" cy="1116013"/>
            </a:xfrm>
            <a:custGeom>
              <a:avLst/>
              <a:gdLst>
                <a:gd name="T0" fmla="*/ 1849 w 4756"/>
                <a:gd name="T1" fmla="*/ 923 h 923"/>
                <a:gd name="T2" fmla="*/ 2153 w 4756"/>
                <a:gd name="T3" fmla="*/ 248 h 923"/>
                <a:gd name="T4" fmla="*/ 1511 w 4756"/>
                <a:gd name="T5" fmla="*/ 0 h 923"/>
                <a:gd name="T6" fmla="*/ 3454 w 4756"/>
                <a:gd name="T7" fmla="*/ 923 h 923"/>
                <a:gd name="T8" fmla="*/ 3669 w 4756"/>
                <a:gd name="T9" fmla="*/ 416 h 923"/>
                <a:gd name="T10" fmla="*/ 4119 w 4756"/>
                <a:gd name="T11" fmla="*/ 923 h 923"/>
                <a:gd name="T12" fmla="*/ 3904 w 4756"/>
                <a:gd name="T13" fmla="*/ 1 h 923"/>
                <a:gd name="T14" fmla="*/ 3692 w 4756"/>
                <a:gd name="T15" fmla="*/ 1 h 923"/>
                <a:gd name="T16" fmla="*/ 3454 w 4756"/>
                <a:gd name="T17" fmla="*/ 923 h 923"/>
                <a:gd name="T18" fmla="*/ 667 w 4756"/>
                <a:gd name="T19" fmla="*/ 923 h 923"/>
                <a:gd name="T20" fmla="*/ 939 w 4756"/>
                <a:gd name="T21" fmla="*/ 791 h 923"/>
                <a:gd name="T22" fmla="*/ 1165 w 4756"/>
                <a:gd name="T23" fmla="*/ 923 h 923"/>
                <a:gd name="T24" fmla="*/ 1224 w 4756"/>
                <a:gd name="T25" fmla="*/ 1 h 923"/>
                <a:gd name="T26" fmla="*/ 0 w 4756"/>
                <a:gd name="T27" fmla="*/ 923 h 923"/>
                <a:gd name="T28" fmla="*/ 599 w 4756"/>
                <a:gd name="T29" fmla="*/ 726 h 923"/>
                <a:gd name="T30" fmla="*/ 612 w 4756"/>
                <a:gd name="T31" fmla="*/ 162 h 923"/>
                <a:gd name="T32" fmla="*/ 19 w 4756"/>
                <a:gd name="T33" fmla="*/ 1 h 923"/>
                <a:gd name="T34" fmla="*/ 327 w 4756"/>
                <a:gd name="T35" fmla="*/ 197 h 923"/>
                <a:gd name="T36" fmla="*/ 0 w 4756"/>
                <a:gd name="T37" fmla="*/ 923 h 923"/>
                <a:gd name="T38" fmla="*/ 4756 w 4756"/>
                <a:gd name="T39" fmla="*/ 923 h 923"/>
                <a:gd name="T40" fmla="*/ 4494 w 4756"/>
                <a:gd name="T41" fmla="*/ 726 h 923"/>
                <a:gd name="T42" fmla="*/ 4707 w 4756"/>
                <a:gd name="T43" fmla="*/ 540 h 923"/>
                <a:gd name="T44" fmla="*/ 4494 w 4756"/>
                <a:gd name="T45" fmla="*/ 376 h 923"/>
                <a:gd name="T46" fmla="*/ 4756 w 4756"/>
                <a:gd name="T47" fmla="*/ 197 h 923"/>
                <a:gd name="T48" fmla="*/ 4252 w 4756"/>
                <a:gd name="T49" fmla="*/ 1 h 923"/>
                <a:gd name="T50" fmla="*/ 2553 w 4756"/>
                <a:gd name="T51" fmla="*/ 462 h 923"/>
                <a:gd name="T52" fmla="*/ 3002 w 4756"/>
                <a:gd name="T53" fmla="*/ 923 h 923"/>
                <a:gd name="T54" fmla="*/ 3002 w 4756"/>
                <a:gd name="T55" fmla="*/ 1 h 923"/>
                <a:gd name="T56" fmla="*/ 2553 w 4756"/>
                <a:gd name="T57" fmla="*/ 462 h 923"/>
                <a:gd name="T58" fmla="*/ 3321 w 4756"/>
                <a:gd name="T59" fmla="*/ 923 h 923"/>
                <a:gd name="T60" fmla="*/ 3079 w 4756"/>
                <a:gd name="T61" fmla="*/ 1 h 923"/>
                <a:gd name="T62" fmla="*/ 2283 w 4756"/>
                <a:gd name="T63" fmla="*/ 1 h 923"/>
                <a:gd name="T64" fmla="*/ 2525 w 4756"/>
                <a:gd name="T65" fmla="*/ 923 h 923"/>
                <a:gd name="T66" fmla="*/ 2283 w 4756"/>
                <a:gd name="T67" fmla="*/ 1 h 923"/>
                <a:gd name="T68" fmla="*/ 1753 w 4756"/>
                <a:gd name="T69" fmla="*/ 196 h 923"/>
                <a:gd name="T70" fmla="*/ 1911 w 4756"/>
                <a:gd name="T71" fmla="*/ 276 h 923"/>
                <a:gd name="T72" fmla="*/ 1830 w 4756"/>
                <a:gd name="T73" fmla="*/ 727 h 923"/>
                <a:gd name="T74" fmla="*/ 1040 w 4756"/>
                <a:gd name="T75" fmla="*/ 199 h 923"/>
                <a:gd name="T76" fmla="*/ 967 w 4756"/>
                <a:gd name="T77" fmla="*/ 629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56" h="923">
                  <a:moveTo>
                    <a:pt x="1511" y="923"/>
                  </a:moveTo>
                  <a:cubicBezTo>
                    <a:pt x="1849" y="923"/>
                    <a:pt x="1849" y="923"/>
                    <a:pt x="1849" y="923"/>
                  </a:cubicBezTo>
                  <a:cubicBezTo>
                    <a:pt x="2001" y="923"/>
                    <a:pt x="2153" y="864"/>
                    <a:pt x="2153" y="675"/>
                  </a:cubicBezTo>
                  <a:cubicBezTo>
                    <a:pt x="2153" y="248"/>
                    <a:pt x="2153" y="248"/>
                    <a:pt x="2153" y="248"/>
                  </a:cubicBezTo>
                  <a:cubicBezTo>
                    <a:pt x="2153" y="59"/>
                    <a:pt x="2001" y="0"/>
                    <a:pt x="1849" y="0"/>
                  </a:cubicBezTo>
                  <a:cubicBezTo>
                    <a:pt x="1511" y="0"/>
                    <a:pt x="1511" y="0"/>
                    <a:pt x="1511" y="0"/>
                  </a:cubicBezTo>
                  <a:lnTo>
                    <a:pt x="1511" y="923"/>
                  </a:lnTo>
                  <a:close/>
                  <a:moveTo>
                    <a:pt x="3454" y="923"/>
                  </a:moveTo>
                  <a:cubicBezTo>
                    <a:pt x="3669" y="923"/>
                    <a:pt x="3669" y="923"/>
                    <a:pt x="3669" y="923"/>
                  </a:cubicBezTo>
                  <a:cubicBezTo>
                    <a:pt x="3669" y="416"/>
                    <a:pt x="3669" y="416"/>
                    <a:pt x="3669" y="416"/>
                  </a:cubicBezTo>
                  <a:cubicBezTo>
                    <a:pt x="3881" y="923"/>
                    <a:pt x="3881" y="923"/>
                    <a:pt x="3881" y="923"/>
                  </a:cubicBezTo>
                  <a:cubicBezTo>
                    <a:pt x="4119" y="923"/>
                    <a:pt x="4119" y="923"/>
                    <a:pt x="4119" y="923"/>
                  </a:cubicBezTo>
                  <a:cubicBezTo>
                    <a:pt x="4119" y="1"/>
                    <a:pt x="4119" y="1"/>
                    <a:pt x="4119" y="1"/>
                  </a:cubicBezTo>
                  <a:cubicBezTo>
                    <a:pt x="3904" y="1"/>
                    <a:pt x="3904" y="1"/>
                    <a:pt x="3904" y="1"/>
                  </a:cubicBezTo>
                  <a:cubicBezTo>
                    <a:pt x="3904" y="517"/>
                    <a:pt x="3904" y="517"/>
                    <a:pt x="3904" y="517"/>
                  </a:cubicBezTo>
                  <a:cubicBezTo>
                    <a:pt x="3692" y="1"/>
                    <a:pt x="3692" y="1"/>
                    <a:pt x="3692" y="1"/>
                  </a:cubicBezTo>
                  <a:cubicBezTo>
                    <a:pt x="3454" y="1"/>
                    <a:pt x="3454" y="1"/>
                    <a:pt x="3454" y="1"/>
                  </a:cubicBezTo>
                  <a:lnTo>
                    <a:pt x="3454" y="923"/>
                  </a:lnTo>
                  <a:close/>
                  <a:moveTo>
                    <a:pt x="863" y="1"/>
                  </a:moveTo>
                  <a:cubicBezTo>
                    <a:pt x="667" y="923"/>
                    <a:pt x="667" y="923"/>
                    <a:pt x="667" y="923"/>
                  </a:cubicBezTo>
                  <a:cubicBezTo>
                    <a:pt x="916" y="923"/>
                    <a:pt x="916" y="923"/>
                    <a:pt x="916" y="923"/>
                  </a:cubicBezTo>
                  <a:cubicBezTo>
                    <a:pt x="939" y="791"/>
                    <a:pt x="939" y="791"/>
                    <a:pt x="939" y="791"/>
                  </a:cubicBezTo>
                  <a:cubicBezTo>
                    <a:pt x="1141" y="791"/>
                    <a:pt x="1141" y="791"/>
                    <a:pt x="1141" y="791"/>
                  </a:cubicBezTo>
                  <a:cubicBezTo>
                    <a:pt x="1165" y="923"/>
                    <a:pt x="1165" y="923"/>
                    <a:pt x="1165" y="923"/>
                  </a:cubicBezTo>
                  <a:cubicBezTo>
                    <a:pt x="1419" y="923"/>
                    <a:pt x="1419" y="923"/>
                    <a:pt x="1419" y="923"/>
                  </a:cubicBezTo>
                  <a:cubicBezTo>
                    <a:pt x="1224" y="1"/>
                    <a:pt x="1224" y="1"/>
                    <a:pt x="1224" y="1"/>
                  </a:cubicBezTo>
                  <a:lnTo>
                    <a:pt x="863" y="1"/>
                  </a:lnTo>
                  <a:close/>
                  <a:moveTo>
                    <a:pt x="0" y="923"/>
                  </a:moveTo>
                  <a:cubicBezTo>
                    <a:pt x="599" y="923"/>
                    <a:pt x="599" y="923"/>
                    <a:pt x="599" y="923"/>
                  </a:cubicBezTo>
                  <a:cubicBezTo>
                    <a:pt x="599" y="726"/>
                    <a:pt x="599" y="726"/>
                    <a:pt x="599" y="726"/>
                  </a:cubicBezTo>
                  <a:cubicBezTo>
                    <a:pt x="285" y="726"/>
                    <a:pt x="285" y="726"/>
                    <a:pt x="285" y="726"/>
                  </a:cubicBezTo>
                  <a:cubicBezTo>
                    <a:pt x="612" y="162"/>
                    <a:pt x="612" y="162"/>
                    <a:pt x="612" y="162"/>
                  </a:cubicBezTo>
                  <a:cubicBezTo>
                    <a:pt x="612" y="1"/>
                    <a:pt x="612" y="1"/>
                    <a:pt x="612" y="1"/>
                  </a:cubicBezTo>
                  <a:cubicBezTo>
                    <a:pt x="19" y="1"/>
                    <a:pt x="19" y="1"/>
                    <a:pt x="19" y="1"/>
                  </a:cubicBezTo>
                  <a:cubicBezTo>
                    <a:pt x="19" y="197"/>
                    <a:pt x="19" y="197"/>
                    <a:pt x="19" y="197"/>
                  </a:cubicBezTo>
                  <a:cubicBezTo>
                    <a:pt x="327" y="197"/>
                    <a:pt x="327" y="197"/>
                    <a:pt x="327" y="197"/>
                  </a:cubicBezTo>
                  <a:cubicBezTo>
                    <a:pt x="0" y="762"/>
                    <a:pt x="0" y="762"/>
                    <a:pt x="0" y="762"/>
                  </a:cubicBezTo>
                  <a:lnTo>
                    <a:pt x="0" y="923"/>
                  </a:lnTo>
                  <a:close/>
                  <a:moveTo>
                    <a:pt x="4252" y="923"/>
                  </a:moveTo>
                  <a:cubicBezTo>
                    <a:pt x="4756" y="923"/>
                    <a:pt x="4756" y="923"/>
                    <a:pt x="4756" y="923"/>
                  </a:cubicBezTo>
                  <a:cubicBezTo>
                    <a:pt x="4756" y="726"/>
                    <a:pt x="4756" y="726"/>
                    <a:pt x="4756" y="726"/>
                  </a:cubicBezTo>
                  <a:cubicBezTo>
                    <a:pt x="4494" y="726"/>
                    <a:pt x="4494" y="726"/>
                    <a:pt x="4494" y="726"/>
                  </a:cubicBezTo>
                  <a:cubicBezTo>
                    <a:pt x="4494" y="540"/>
                    <a:pt x="4494" y="540"/>
                    <a:pt x="4494" y="540"/>
                  </a:cubicBezTo>
                  <a:cubicBezTo>
                    <a:pt x="4707" y="540"/>
                    <a:pt x="4707" y="540"/>
                    <a:pt x="4707" y="540"/>
                  </a:cubicBezTo>
                  <a:cubicBezTo>
                    <a:pt x="4707" y="376"/>
                    <a:pt x="4707" y="376"/>
                    <a:pt x="4707" y="376"/>
                  </a:cubicBezTo>
                  <a:cubicBezTo>
                    <a:pt x="4494" y="376"/>
                    <a:pt x="4494" y="376"/>
                    <a:pt x="4494" y="376"/>
                  </a:cubicBezTo>
                  <a:cubicBezTo>
                    <a:pt x="4494" y="197"/>
                    <a:pt x="4494" y="197"/>
                    <a:pt x="4494" y="197"/>
                  </a:cubicBezTo>
                  <a:cubicBezTo>
                    <a:pt x="4756" y="197"/>
                    <a:pt x="4756" y="197"/>
                    <a:pt x="4756" y="197"/>
                  </a:cubicBezTo>
                  <a:cubicBezTo>
                    <a:pt x="4756" y="1"/>
                    <a:pt x="4756" y="1"/>
                    <a:pt x="4756" y="1"/>
                  </a:cubicBezTo>
                  <a:cubicBezTo>
                    <a:pt x="4252" y="1"/>
                    <a:pt x="4252" y="1"/>
                    <a:pt x="4252" y="1"/>
                  </a:cubicBezTo>
                  <a:lnTo>
                    <a:pt x="4252" y="923"/>
                  </a:lnTo>
                  <a:close/>
                  <a:moveTo>
                    <a:pt x="2553" y="462"/>
                  </a:moveTo>
                  <a:cubicBezTo>
                    <a:pt x="2743" y="923"/>
                    <a:pt x="2743" y="923"/>
                    <a:pt x="2743" y="923"/>
                  </a:cubicBezTo>
                  <a:cubicBezTo>
                    <a:pt x="3002" y="923"/>
                    <a:pt x="3002" y="923"/>
                    <a:pt x="3002" y="923"/>
                  </a:cubicBezTo>
                  <a:cubicBezTo>
                    <a:pt x="2811" y="462"/>
                    <a:pt x="2811" y="462"/>
                    <a:pt x="2811" y="462"/>
                  </a:cubicBezTo>
                  <a:cubicBezTo>
                    <a:pt x="3002" y="1"/>
                    <a:pt x="3002" y="1"/>
                    <a:pt x="3002" y="1"/>
                  </a:cubicBezTo>
                  <a:cubicBezTo>
                    <a:pt x="2743" y="1"/>
                    <a:pt x="2743" y="1"/>
                    <a:pt x="2743" y="1"/>
                  </a:cubicBezTo>
                  <a:lnTo>
                    <a:pt x="2553" y="462"/>
                  </a:lnTo>
                  <a:close/>
                  <a:moveTo>
                    <a:pt x="3079" y="923"/>
                  </a:moveTo>
                  <a:cubicBezTo>
                    <a:pt x="3321" y="923"/>
                    <a:pt x="3321" y="923"/>
                    <a:pt x="3321" y="923"/>
                  </a:cubicBezTo>
                  <a:cubicBezTo>
                    <a:pt x="3321" y="1"/>
                    <a:pt x="3321" y="1"/>
                    <a:pt x="3321" y="1"/>
                  </a:cubicBezTo>
                  <a:cubicBezTo>
                    <a:pt x="3079" y="1"/>
                    <a:pt x="3079" y="1"/>
                    <a:pt x="3079" y="1"/>
                  </a:cubicBezTo>
                  <a:lnTo>
                    <a:pt x="3079" y="923"/>
                  </a:lnTo>
                  <a:close/>
                  <a:moveTo>
                    <a:pt x="2283" y="1"/>
                  </a:moveTo>
                  <a:cubicBezTo>
                    <a:pt x="2283" y="923"/>
                    <a:pt x="2283" y="923"/>
                    <a:pt x="2283" y="923"/>
                  </a:cubicBezTo>
                  <a:cubicBezTo>
                    <a:pt x="2525" y="923"/>
                    <a:pt x="2525" y="923"/>
                    <a:pt x="2525" y="923"/>
                  </a:cubicBezTo>
                  <a:cubicBezTo>
                    <a:pt x="2525" y="1"/>
                    <a:pt x="2525" y="1"/>
                    <a:pt x="2525" y="1"/>
                  </a:cubicBezTo>
                  <a:lnTo>
                    <a:pt x="2283" y="1"/>
                  </a:lnTo>
                  <a:close/>
                  <a:moveTo>
                    <a:pt x="1753" y="727"/>
                  </a:moveTo>
                  <a:cubicBezTo>
                    <a:pt x="1753" y="196"/>
                    <a:pt x="1753" y="196"/>
                    <a:pt x="1753" y="196"/>
                  </a:cubicBezTo>
                  <a:cubicBezTo>
                    <a:pt x="1830" y="196"/>
                    <a:pt x="1830" y="196"/>
                    <a:pt x="1830" y="196"/>
                  </a:cubicBezTo>
                  <a:cubicBezTo>
                    <a:pt x="1884" y="196"/>
                    <a:pt x="1911" y="223"/>
                    <a:pt x="1911" y="276"/>
                  </a:cubicBezTo>
                  <a:cubicBezTo>
                    <a:pt x="1911" y="647"/>
                    <a:pt x="1911" y="647"/>
                    <a:pt x="1911" y="647"/>
                  </a:cubicBezTo>
                  <a:cubicBezTo>
                    <a:pt x="1911" y="700"/>
                    <a:pt x="1884" y="727"/>
                    <a:pt x="1830" y="727"/>
                  </a:cubicBezTo>
                  <a:lnTo>
                    <a:pt x="1753" y="727"/>
                  </a:lnTo>
                  <a:close/>
                  <a:moveTo>
                    <a:pt x="1040" y="199"/>
                  </a:moveTo>
                  <a:cubicBezTo>
                    <a:pt x="1114" y="629"/>
                    <a:pt x="1114" y="629"/>
                    <a:pt x="1114" y="629"/>
                  </a:cubicBezTo>
                  <a:cubicBezTo>
                    <a:pt x="967" y="629"/>
                    <a:pt x="967" y="629"/>
                    <a:pt x="967" y="629"/>
                  </a:cubicBezTo>
                  <a:lnTo>
                    <a:pt x="1040"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490963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dia met bee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06D5A63F-6F54-46E2-89C7-A23D8F710B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200400" cy="6858000"/>
          </a:xfrm>
          <a:prstGeom prst="rect">
            <a:avLst/>
          </a:prstGeom>
        </p:spPr>
      </p:pic>
      <p:sp>
        <p:nvSpPr>
          <p:cNvPr id="2" name="Titel 1">
            <a:extLst>
              <a:ext uri="{FF2B5EF4-FFF2-40B4-BE49-F238E27FC236}">
                <a16:creationId xmlns:a16="http://schemas.microsoft.com/office/drawing/2014/main" id="{D943FCFA-EF8D-47FE-BA9A-240EBC3DA098}"/>
              </a:ext>
            </a:extLst>
          </p:cNvPr>
          <p:cNvSpPr>
            <a:spLocks noGrp="1"/>
          </p:cNvSpPr>
          <p:nvPr>
            <p:ph type="ctrTitle"/>
          </p:nvPr>
        </p:nvSpPr>
        <p:spPr bwMode="white">
          <a:xfrm>
            <a:off x="611998" y="612000"/>
            <a:ext cx="10965600" cy="1371600"/>
          </a:xfrm>
        </p:spPr>
        <p:txBody>
          <a:bodyPr anchor="b">
            <a:normAutofit/>
          </a:bodyPr>
          <a:lstStyle>
            <a:lvl1pPr algn="l">
              <a:lnSpc>
                <a:spcPts val="5400"/>
              </a:lnSpc>
              <a:defRPr sz="4500">
                <a:solidFill>
                  <a:schemeClr val="bg1"/>
                </a:solidFill>
              </a:defRPr>
            </a:lvl1pPr>
          </a:lstStyle>
          <a:p>
            <a:r>
              <a:rPr lang="nl-NL"/>
              <a:t>Klik om stijl te bewerken</a:t>
            </a:r>
          </a:p>
        </p:txBody>
      </p:sp>
      <p:sp>
        <p:nvSpPr>
          <p:cNvPr id="3" name="Ondertitel 2">
            <a:extLst>
              <a:ext uri="{FF2B5EF4-FFF2-40B4-BE49-F238E27FC236}">
                <a16:creationId xmlns:a16="http://schemas.microsoft.com/office/drawing/2014/main" id="{D832008F-3819-49FB-AE1C-DFE63531E153}"/>
              </a:ext>
            </a:extLst>
          </p:cNvPr>
          <p:cNvSpPr>
            <a:spLocks noGrp="1"/>
          </p:cNvSpPr>
          <p:nvPr>
            <p:ph type="subTitle" idx="1"/>
          </p:nvPr>
        </p:nvSpPr>
        <p:spPr bwMode="white">
          <a:xfrm>
            <a:off x="611998" y="1983600"/>
            <a:ext cx="10965600" cy="1371600"/>
          </a:xfrm>
        </p:spPr>
        <p:txBody>
          <a:bodyPr>
            <a:normAutofit/>
          </a:bodyPr>
          <a:lstStyle>
            <a:lvl1pPr marL="0" indent="0" algn="l">
              <a:lnSpc>
                <a:spcPts val="5400"/>
              </a:lnSpc>
              <a:buNone/>
              <a:defRPr sz="4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grpSp>
        <p:nvGrpSpPr>
          <p:cNvPr id="11" name="Zadkine_logo">
            <a:extLst>
              <a:ext uri="{FF2B5EF4-FFF2-40B4-BE49-F238E27FC236}">
                <a16:creationId xmlns:a16="http://schemas.microsoft.com/office/drawing/2014/main" id="{2815E470-A7D4-46DA-AA23-086196C1FE7A}"/>
              </a:ext>
            </a:extLst>
          </p:cNvPr>
          <p:cNvGrpSpPr/>
          <p:nvPr userDrawn="1"/>
        </p:nvGrpSpPr>
        <p:grpSpPr bwMode="ltGray">
          <a:xfrm>
            <a:off x="611998" y="4446000"/>
            <a:ext cx="1800000" cy="1800000"/>
            <a:chOff x="2678113" y="0"/>
            <a:chExt cx="6835775" cy="6858000"/>
          </a:xfrm>
        </p:grpSpPr>
        <p:sp>
          <p:nvSpPr>
            <p:cNvPr id="9" name="Rectangle 5">
              <a:extLst>
                <a:ext uri="{FF2B5EF4-FFF2-40B4-BE49-F238E27FC236}">
                  <a16:creationId xmlns:a16="http://schemas.microsoft.com/office/drawing/2014/main" id="{E0C9184D-892D-4CD7-A96D-0D96E2322077}"/>
                </a:ext>
              </a:extLst>
            </p:cNvPr>
            <p:cNvSpPr>
              <a:spLocks noChangeArrowheads="1"/>
            </p:cNvSpPr>
            <p:nvPr userDrawn="1"/>
          </p:nvSpPr>
          <p:spPr bwMode="ltGray">
            <a:xfrm>
              <a:off x="2678113" y="0"/>
              <a:ext cx="6835775" cy="6858000"/>
            </a:xfrm>
            <a:prstGeom prst="rect">
              <a:avLst/>
            </a:prstGeom>
            <a:solidFill>
              <a:srgbClr val="D703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0" name="Freeform 6">
              <a:extLst>
                <a:ext uri="{FF2B5EF4-FFF2-40B4-BE49-F238E27FC236}">
                  <a16:creationId xmlns:a16="http://schemas.microsoft.com/office/drawing/2014/main" id="{674049BE-CEFB-4D89-89A0-3AEE665CF26D}"/>
                </a:ext>
              </a:extLst>
            </p:cNvPr>
            <p:cNvSpPr>
              <a:spLocks noEditPoints="1"/>
            </p:cNvSpPr>
            <p:nvPr userDrawn="1"/>
          </p:nvSpPr>
          <p:spPr bwMode="ltGray">
            <a:xfrm>
              <a:off x="3224213" y="2870200"/>
              <a:ext cx="5734050" cy="1116013"/>
            </a:xfrm>
            <a:custGeom>
              <a:avLst/>
              <a:gdLst>
                <a:gd name="T0" fmla="*/ 1849 w 4756"/>
                <a:gd name="T1" fmla="*/ 923 h 923"/>
                <a:gd name="T2" fmla="*/ 2153 w 4756"/>
                <a:gd name="T3" fmla="*/ 248 h 923"/>
                <a:gd name="T4" fmla="*/ 1511 w 4756"/>
                <a:gd name="T5" fmla="*/ 0 h 923"/>
                <a:gd name="T6" fmla="*/ 3454 w 4756"/>
                <a:gd name="T7" fmla="*/ 923 h 923"/>
                <a:gd name="T8" fmla="*/ 3669 w 4756"/>
                <a:gd name="T9" fmla="*/ 416 h 923"/>
                <a:gd name="T10" fmla="*/ 4119 w 4756"/>
                <a:gd name="T11" fmla="*/ 923 h 923"/>
                <a:gd name="T12" fmla="*/ 3904 w 4756"/>
                <a:gd name="T13" fmla="*/ 1 h 923"/>
                <a:gd name="T14" fmla="*/ 3692 w 4756"/>
                <a:gd name="T15" fmla="*/ 1 h 923"/>
                <a:gd name="T16" fmla="*/ 3454 w 4756"/>
                <a:gd name="T17" fmla="*/ 923 h 923"/>
                <a:gd name="T18" fmla="*/ 667 w 4756"/>
                <a:gd name="T19" fmla="*/ 923 h 923"/>
                <a:gd name="T20" fmla="*/ 939 w 4756"/>
                <a:gd name="T21" fmla="*/ 791 h 923"/>
                <a:gd name="T22" fmla="*/ 1165 w 4756"/>
                <a:gd name="T23" fmla="*/ 923 h 923"/>
                <a:gd name="T24" fmla="*/ 1224 w 4756"/>
                <a:gd name="T25" fmla="*/ 1 h 923"/>
                <a:gd name="T26" fmla="*/ 0 w 4756"/>
                <a:gd name="T27" fmla="*/ 923 h 923"/>
                <a:gd name="T28" fmla="*/ 599 w 4756"/>
                <a:gd name="T29" fmla="*/ 726 h 923"/>
                <a:gd name="T30" fmla="*/ 612 w 4756"/>
                <a:gd name="T31" fmla="*/ 162 h 923"/>
                <a:gd name="T32" fmla="*/ 19 w 4756"/>
                <a:gd name="T33" fmla="*/ 1 h 923"/>
                <a:gd name="T34" fmla="*/ 327 w 4756"/>
                <a:gd name="T35" fmla="*/ 197 h 923"/>
                <a:gd name="T36" fmla="*/ 0 w 4756"/>
                <a:gd name="T37" fmla="*/ 923 h 923"/>
                <a:gd name="T38" fmla="*/ 4756 w 4756"/>
                <a:gd name="T39" fmla="*/ 923 h 923"/>
                <a:gd name="T40" fmla="*/ 4494 w 4756"/>
                <a:gd name="T41" fmla="*/ 726 h 923"/>
                <a:gd name="T42" fmla="*/ 4707 w 4756"/>
                <a:gd name="T43" fmla="*/ 540 h 923"/>
                <a:gd name="T44" fmla="*/ 4494 w 4756"/>
                <a:gd name="T45" fmla="*/ 376 h 923"/>
                <a:gd name="T46" fmla="*/ 4756 w 4756"/>
                <a:gd name="T47" fmla="*/ 197 h 923"/>
                <a:gd name="T48" fmla="*/ 4252 w 4756"/>
                <a:gd name="T49" fmla="*/ 1 h 923"/>
                <a:gd name="T50" fmla="*/ 2553 w 4756"/>
                <a:gd name="T51" fmla="*/ 462 h 923"/>
                <a:gd name="T52" fmla="*/ 3002 w 4756"/>
                <a:gd name="T53" fmla="*/ 923 h 923"/>
                <a:gd name="T54" fmla="*/ 3002 w 4756"/>
                <a:gd name="T55" fmla="*/ 1 h 923"/>
                <a:gd name="T56" fmla="*/ 2553 w 4756"/>
                <a:gd name="T57" fmla="*/ 462 h 923"/>
                <a:gd name="T58" fmla="*/ 3321 w 4756"/>
                <a:gd name="T59" fmla="*/ 923 h 923"/>
                <a:gd name="T60" fmla="*/ 3079 w 4756"/>
                <a:gd name="T61" fmla="*/ 1 h 923"/>
                <a:gd name="T62" fmla="*/ 2283 w 4756"/>
                <a:gd name="T63" fmla="*/ 1 h 923"/>
                <a:gd name="T64" fmla="*/ 2525 w 4756"/>
                <a:gd name="T65" fmla="*/ 923 h 923"/>
                <a:gd name="T66" fmla="*/ 2283 w 4756"/>
                <a:gd name="T67" fmla="*/ 1 h 923"/>
                <a:gd name="T68" fmla="*/ 1753 w 4756"/>
                <a:gd name="T69" fmla="*/ 196 h 923"/>
                <a:gd name="T70" fmla="*/ 1911 w 4756"/>
                <a:gd name="T71" fmla="*/ 276 h 923"/>
                <a:gd name="T72" fmla="*/ 1830 w 4756"/>
                <a:gd name="T73" fmla="*/ 727 h 923"/>
                <a:gd name="T74" fmla="*/ 1040 w 4756"/>
                <a:gd name="T75" fmla="*/ 199 h 923"/>
                <a:gd name="T76" fmla="*/ 967 w 4756"/>
                <a:gd name="T77" fmla="*/ 629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56" h="923">
                  <a:moveTo>
                    <a:pt x="1511" y="923"/>
                  </a:moveTo>
                  <a:cubicBezTo>
                    <a:pt x="1849" y="923"/>
                    <a:pt x="1849" y="923"/>
                    <a:pt x="1849" y="923"/>
                  </a:cubicBezTo>
                  <a:cubicBezTo>
                    <a:pt x="2001" y="923"/>
                    <a:pt x="2153" y="864"/>
                    <a:pt x="2153" y="675"/>
                  </a:cubicBezTo>
                  <a:cubicBezTo>
                    <a:pt x="2153" y="248"/>
                    <a:pt x="2153" y="248"/>
                    <a:pt x="2153" y="248"/>
                  </a:cubicBezTo>
                  <a:cubicBezTo>
                    <a:pt x="2153" y="59"/>
                    <a:pt x="2001" y="0"/>
                    <a:pt x="1849" y="0"/>
                  </a:cubicBezTo>
                  <a:cubicBezTo>
                    <a:pt x="1511" y="0"/>
                    <a:pt x="1511" y="0"/>
                    <a:pt x="1511" y="0"/>
                  </a:cubicBezTo>
                  <a:lnTo>
                    <a:pt x="1511" y="923"/>
                  </a:lnTo>
                  <a:close/>
                  <a:moveTo>
                    <a:pt x="3454" y="923"/>
                  </a:moveTo>
                  <a:cubicBezTo>
                    <a:pt x="3669" y="923"/>
                    <a:pt x="3669" y="923"/>
                    <a:pt x="3669" y="923"/>
                  </a:cubicBezTo>
                  <a:cubicBezTo>
                    <a:pt x="3669" y="416"/>
                    <a:pt x="3669" y="416"/>
                    <a:pt x="3669" y="416"/>
                  </a:cubicBezTo>
                  <a:cubicBezTo>
                    <a:pt x="3881" y="923"/>
                    <a:pt x="3881" y="923"/>
                    <a:pt x="3881" y="923"/>
                  </a:cubicBezTo>
                  <a:cubicBezTo>
                    <a:pt x="4119" y="923"/>
                    <a:pt x="4119" y="923"/>
                    <a:pt x="4119" y="923"/>
                  </a:cubicBezTo>
                  <a:cubicBezTo>
                    <a:pt x="4119" y="1"/>
                    <a:pt x="4119" y="1"/>
                    <a:pt x="4119" y="1"/>
                  </a:cubicBezTo>
                  <a:cubicBezTo>
                    <a:pt x="3904" y="1"/>
                    <a:pt x="3904" y="1"/>
                    <a:pt x="3904" y="1"/>
                  </a:cubicBezTo>
                  <a:cubicBezTo>
                    <a:pt x="3904" y="517"/>
                    <a:pt x="3904" y="517"/>
                    <a:pt x="3904" y="517"/>
                  </a:cubicBezTo>
                  <a:cubicBezTo>
                    <a:pt x="3692" y="1"/>
                    <a:pt x="3692" y="1"/>
                    <a:pt x="3692" y="1"/>
                  </a:cubicBezTo>
                  <a:cubicBezTo>
                    <a:pt x="3454" y="1"/>
                    <a:pt x="3454" y="1"/>
                    <a:pt x="3454" y="1"/>
                  </a:cubicBezTo>
                  <a:lnTo>
                    <a:pt x="3454" y="923"/>
                  </a:lnTo>
                  <a:close/>
                  <a:moveTo>
                    <a:pt x="863" y="1"/>
                  </a:moveTo>
                  <a:cubicBezTo>
                    <a:pt x="667" y="923"/>
                    <a:pt x="667" y="923"/>
                    <a:pt x="667" y="923"/>
                  </a:cubicBezTo>
                  <a:cubicBezTo>
                    <a:pt x="916" y="923"/>
                    <a:pt x="916" y="923"/>
                    <a:pt x="916" y="923"/>
                  </a:cubicBezTo>
                  <a:cubicBezTo>
                    <a:pt x="939" y="791"/>
                    <a:pt x="939" y="791"/>
                    <a:pt x="939" y="791"/>
                  </a:cubicBezTo>
                  <a:cubicBezTo>
                    <a:pt x="1141" y="791"/>
                    <a:pt x="1141" y="791"/>
                    <a:pt x="1141" y="791"/>
                  </a:cubicBezTo>
                  <a:cubicBezTo>
                    <a:pt x="1165" y="923"/>
                    <a:pt x="1165" y="923"/>
                    <a:pt x="1165" y="923"/>
                  </a:cubicBezTo>
                  <a:cubicBezTo>
                    <a:pt x="1419" y="923"/>
                    <a:pt x="1419" y="923"/>
                    <a:pt x="1419" y="923"/>
                  </a:cubicBezTo>
                  <a:cubicBezTo>
                    <a:pt x="1224" y="1"/>
                    <a:pt x="1224" y="1"/>
                    <a:pt x="1224" y="1"/>
                  </a:cubicBezTo>
                  <a:lnTo>
                    <a:pt x="863" y="1"/>
                  </a:lnTo>
                  <a:close/>
                  <a:moveTo>
                    <a:pt x="0" y="923"/>
                  </a:moveTo>
                  <a:cubicBezTo>
                    <a:pt x="599" y="923"/>
                    <a:pt x="599" y="923"/>
                    <a:pt x="599" y="923"/>
                  </a:cubicBezTo>
                  <a:cubicBezTo>
                    <a:pt x="599" y="726"/>
                    <a:pt x="599" y="726"/>
                    <a:pt x="599" y="726"/>
                  </a:cubicBezTo>
                  <a:cubicBezTo>
                    <a:pt x="285" y="726"/>
                    <a:pt x="285" y="726"/>
                    <a:pt x="285" y="726"/>
                  </a:cubicBezTo>
                  <a:cubicBezTo>
                    <a:pt x="612" y="162"/>
                    <a:pt x="612" y="162"/>
                    <a:pt x="612" y="162"/>
                  </a:cubicBezTo>
                  <a:cubicBezTo>
                    <a:pt x="612" y="1"/>
                    <a:pt x="612" y="1"/>
                    <a:pt x="612" y="1"/>
                  </a:cubicBezTo>
                  <a:cubicBezTo>
                    <a:pt x="19" y="1"/>
                    <a:pt x="19" y="1"/>
                    <a:pt x="19" y="1"/>
                  </a:cubicBezTo>
                  <a:cubicBezTo>
                    <a:pt x="19" y="197"/>
                    <a:pt x="19" y="197"/>
                    <a:pt x="19" y="197"/>
                  </a:cubicBezTo>
                  <a:cubicBezTo>
                    <a:pt x="327" y="197"/>
                    <a:pt x="327" y="197"/>
                    <a:pt x="327" y="197"/>
                  </a:cubicBezTo>
                  <a:cubicBezTo>
                    <a:pt x="0" y="762"/>
                    <a:pt x="0" y="762"/>
                    <a:pt x="0" y="762"/>
                  </a:cubicBezTo>
                  <a:lnTo>
                    <a:pt x="0" y="923"/>
                  </a:lnTo>
                  <a:close/>
                  <a:moveTo>
                    <a:pt x="4252" y="923"/>
                  </a:moveTo>
                  <a:cubicBezTo>
                    <a:pt x="4756" y="923"/>
                    <a:pt x="4756" y="923"/>
                    <a:pt x="4756" y="923"/>
                  </a:cubicBezTo>
                  <a:cubicBezTo>
                    <a:pt x="4756" y="726"/>
                    <a:pt x="4756" y="726"/>
                    <a:pt x="4756" y="726"/>
                  </a:cubicBezTo>
                  <a:cubicBezTo>
                    <a:pt x="4494" y="726"/>
                    <a:pt x="4494" y="726"/>
                    <a:pt x="4494" y="726"/>
                  </a:cubicBezTo>
                  <a:cubicBezTo>
                    <a:pt x="4494" y="540"/>
                    <a:pt x="4494" y="540"/>
                    <a:pt x="4494" y="540"/>
                  </a:cubicBezTo>
                  <a:cubicBezTo>
                    <a:pt x="4707" y="540"/>
                    <a:pt x="4707" y="540"/>
                    <a:pt x="4707" y="540"/>
                  </a:cubicBezTo>
                  <a:cubicBezTo>
                    <a:pt x="4707" y="376"/>
                    <a:pt x="4707" y="376"/>
                    <a:pt x="4707" y="376"/>
                  </a:cubicBezTo>
                  <a:cubicBezTo>
                    <a:pt x="4494" y="376"/>
                    <a:pt x="4494" y="376"/>
                    <a:pt x="4494" y="376"/>
                  </a:cubicBezTo>
                  <a:cubicBezTo>
                    <a:pt x="4494" y="197"/>
                    <a:pt x="4494" y="197"/>
                    <a:pt x="4494" y="197"/>
                  </a:cubicBezTo>
                  <a:cubicBezTo>
                    <a:pt x="4756" y="197"/>
                    <a:pt x="4756" y="197"/>
                    <a:pt x="4756" y="197"/>
                  </a:cubicBezTo>
                  <a:cubicBezTo>
                    <a:pt x="4756" y="1"/>
                    <a:pt x="4756" y="1"/>
                    <a:pt x="4756" y="1"/>
                  </a:cubicBezTo>
                  <a:cubicBezTo>
                    <a:pt x="4252" y="1"/>
                    <a:pt x="4252" y="1"/>
                    <a:pt x="4252" y="1"/>
                  </a:cubicBezTo>
                  <a:lnTo>
                    <a:pt x="4252" y="923"/>
                  </a:lnTo>
                  <a:close/>
                  <a:moveTo>
                    <a:pt x="2553" y="462"/>
                  </a:moveTo>
                  <a:cubicBezTo>
                    <a:pt x="2743" y="923"/>
                    <a:pt x="2743" y="923"/>
                    <a:pt x="2743" y="923"/>
                  </a:cubicBezTo>
                  <a:cubicBezTo>
                    <a:pt x="3002" y="923"/>
                    <a:pt x="3002" y="923"/>
                    <a:pt x="3002" y="923"/>
                  </a:cubicBezTo>
                  <a:cubicBezTo>
                    <a:pt x="2811" y="462"/>
                    <a:pt x="2811" y="462"/>
                    <a:pt x="2811" y="462"/>
                  </a:cubicBezTo>
                  <a:cubicBezTo>
                    <a:pt x="3002" y="1"/>
                    <a:pt x="3002" y="1"/>
                    <a:pt x="3002" y="1"/>
                  </a:cubicBezTo>
                  <a:cubicBezTo>
                    <a:pt x="2743" y="1"/>
                    <a:pt x="2743" y="1"/>
                    <a:pt x="2743" y="1"/>
                  </a:cubicBezTo>
                  <a:lnTo>
                    <a:pt x="2553" y="462"/>
                  </a:lnTo>
                  <a:close/>
                  <a:moveTo>
                    <a:pt x="3079" y="923"/>
                  </a:moveTo>
                  <a:cubicBezTo>
                    <a:pt x="3321" y="923"/>
                    <a:pt x="3321" y="923"/>
                    <a:pt x="3321" y="923"/>
                  </a:cubicBezTo>
                  <a:cubicBezTo>
                    <a:pt x="3321" y="1"/>
                    <a:pt x="3321" y="1"/>
                    <a:pt x="3321" y="1"/>
                  </a:cubicBezTo>
                  <a:cubicBezTo>
                    <a:pt x="3079" y="1"/>
                    <a:pt x="3079" y="1"/>
                    <a:pt x="3079" y="1"/>
                  </a:cubicBezTo>
                  <a:lnTo>
                    <a:pt x="3079" y="923"/>
                  </a:lnTo>
                  <a:close/>
                  <a:moveTo>
                    <a:pt x="2283" y="1"/>
                  </a:moveTo>
                  <a:cubicBezTo>
                    <a:pt x="2283" y="923"/>
                    <a:pt x="2283" y="923"/>
                    <a:pt x="2283" y="923"/>
                  </a:cubicBezTo>
                  <a:cubicBezTo>
                    <a:pt x="2525" y="923"/>
                    <a:pt x="2525" y="923"/>
                    <a:pt x="2525" y="923"/>
                  </a:cubicBezTo>
                  <a:cubicBezTo>
                    <a:pt x="2525" y="1"/>
                    <a:pt x="2525" y="1"/>
                    <a:pt x="2525" y="1"/>
                  </a:cubicBezTo>
                  <a:lnTo>
                    <a:pt x="2283" y="1"/>
                  </a:lnTo>
                  <a:close/>
                  <a:moveTo>
                    <a:pt x="1753" y="727"/>
                  </a:moveTo>
                  <a:cubicBezTo>
                    <a:pt x="1753" y="196"/>
                    <a:pt x="1753" y="196"/>
                    <a:pt x="1753" y="196"/>
                  </a:cubicBezTo>
                  <a:cubicBezTo>
                    <a:pt x="1830" y="196"/>
                    <a:pt x="1830" y="196"/>
                    <a:pt x="1830" y="196"/>
                  </a:cubicBezTo>
                  <a:cubicBezTo>
                    <a:pt x="1884" y="196"/>
                    <a:pt x="1911" y="223"/>
                    <a:pt x="1911" y="276"/>
                  </a:cubicBezTo>
                  <a:cubicBezTo>
                    <a:pt x="1911" y="647"/>
                    <a:pt x="1911" y="647"/>
                    <a:pt x="1911" y="647"/>
                  </a:cubicBezTo>
                  <a:cubicBezTo>
                    <a:pt x="1911" y="700"/>
                    <a:pt x="1884" y="727"/>
                    <a:pt x="1830" y="727"/>
                  </a:cubicBezTo>
                  <a:lnTo>
                    <a:pt x="1753" y="727"/>
                  </a:lnTo>
                  <a:close/>
                  <a:moveTo>
                    <a:pt x="1040" y="199"/>
                  </a:moveTo>
                  <a:cubicBezTo>
                    <a:pt x="1114" y="629"/>
                    <a:pt x="1114" y="629"/>
                    <a:pt x="1114" y="629"/>
                  </a:cubicBezTo>
                  <a:cubicBezTo>
                    <a:pt x="967" y="629"/>
                    <a:pt x="967" y="629"/>
                    <a:pt x="967" y="629"/>
                  </a:cubicBezTo>
                  <a:lnTo>
                    <a:pt x="1040"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2973289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2FCE36-BCE2-4F97-BC7A-F44BCD68158D}"/>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065D6068-6D66-46E4-AD9A-5CD0F1ABB3F7}"/>
              </a:ext>
            </a:extLst>
          </p:cNvPr>
          <p:cNvSpPr>
            <a:spLocks noGrp="1"/>
          </p:cNvSpPr>
          <p:nvPr>
            <p:ph idx="1"/>
          </p:nvPr>
        </p:nvSpPr>
        <p:spPr>
          <a:xfrm>
            <a:off x="612000" y="2020908"/>
            <a:ext cx="10969198" cy="3564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tekst 7">
            <a:extLst>
              <a:ext uri="{FF2B5EF4-FFF2-40B4-BE49-F238E27FC236}">
                <a16:creationId xmlns:a16="http://schemas.microsoft.com/office/drawing/2014/main" id="{612BDFA0-16D8-49DE-8382-E1254B4CDC19}"/>
              </a:ext>
            </a:extLst>
          </p:cNvPr>
          <p:cNvSpPr>
            <a:spLocks noGrp="1"/>
          </p:cNvSpPr>
          <p:nvPr>
            <p:ph type="body" sz="quarter" idx="13"/>
          </p:nvPr>
        </p:nvSpPr>
        <p:spPr>
          <a:xfrm>
            <a:off x="611999" y="1158100"/>
            <a:ext cx="10969199" cy="546100"/>
          </a:xfrm>
        </p:spPr>
        <p:txBody>
          <a:bodyPr>
            <a:normAutofit/>
          </a:bodyPr>
          <a:lstStyle>
            <a:lvl1pPr marL="0" indent="0">
              <a:lnSpc>
                <a:spcPts val="4300"/>
              </a:lnSpc>
              <a:buNone/>
              <a:defRPr sz="3600"/>
            </a:lvl1pPr>
          </a:lstStyle>
          <a:p>
            <a:pPr lvl="0"/>
            <a:r>
              <a:rPr lang="nl-NL"/>
              <a:t>Klikken om de tekststijl van het model te bewerken</a:t>
            </a:r>
          </a:p>
        </p:txBody>
      </p:sp>
      <p:sp>
        <p:nvSpPr>
          <p:cNvPr id="7" name="Tijdelijke aanduiding voor datum 6">
            <a:extLst>
              <a:ext uri="{FF2B5EF4-FFF2-40B4-BE49-F238E27FC236}">
                <a16:creationId xmlns:a16="http://schemas.microsoft.com/office/drawing/2014/main" id="{E8060B82-63D7-4B18-9271-D8268D3BEE00}"/>
              </a:ext>
            </a:extLst>
          </p:cNvPr>
          <p:cNvSpPr>
            <a:spLocks noGrp="1"/>
          </p:cNvSpPr>
          <p:nvPr>
            <p:ph type="dt" sz="half" idx="14"/>
          </p:nvPr>
        </p:nvSpPr>
        <p:spPr>
          <a:xfrm>
            <a:off x="9420001" y="6393460"/>
            <a:ext cx="1710000" cy="238125"/>
          </a:xfrm>
        </p:spPr>
        <p:txBody>
          <a:bodyPr/>
          <a:lstStyle/>
          <a:p>
            <a:fld id="{A272861F-96AB-467D-8B25-DC52F51ED1BF}" type="datetime4">
              <a:rPr lang="nl-NL" smtClean="0"/>
              <a:t>13 februari 2024</a:t>
            </a:fld>
            <a:endParaRPr lang="nl-NL"/>
          </a:p>
        </p:txBody>
      </p:sp>
      <p:sp>
        <p:nvSpPr>
          <p:cNvPr id="9" name="Tijdelijke aanduiding voor voettekst 8">
            <a:extLst>
              <a:ext uri="{FF2B5EF4-FFF2-40B4-BE49-F238E27FC236}">
                <a16:creationId xmlns:a16="http://schemas.microsoft.com/office/drawing/2014/main" id="{9A3C9455-30B9-4C24-8FBB-9EE2D5A97B6D}"/>
              </a:ext>
            </a:extLst>
          </p:cNvPr>
          <p:cNvSpPr>
            <a:spLocks noGrp="1"/>
          </p:cNvSpPr>
          <p:nvPr>
            <p:ph type="ftr" sz="quarter" idx="15"/>
          </p:nvPr>
        </p:nvSpPr>
        <p:spPr>
          <a:xfrm>
            <a:off x="5305201" y="6393460"/>
            <a:ext cx="4114800" cy="238125"/>
          </a:xfrm>
        </p:spPr>
        <p:txBody>
          <a:bodyPr/>
          <a:lstStyle/>
          <a:p>
            <a:r>
              <a:rPr lang="nl-NL"/>
              <a:t>Titel van de presentatie</a:t>
            </a:r>
          </a:p>
        </p:txBody>
      </p:sp>
      <p:sp>
        <p:nvSpPr>
          <p:cNvPr id="10" name="Tijdelijke aanduiding voor dianummer 9">
            <a:extLst>
              <a:ext uri="{FF2B5EF4-FFF2-40B4-BE49-F238E27FC236}">
                <a16:creationId xmlns:a16="http://schemas.microsoft.com/office/drawing/2014/main" id="{2E6704B5-9F72-4553-8493-74D5BD215884}"/>
              </a:ext>
            </a:extLst>
          </p:cNvPr>
          <p:cNvSpPr>
            <a:spLocks noGrp="1"/>
          </p:cNvSpPr>
          <p:nvPr>
            <p:ph type="sldNum" sz="quarter" idx="16"/>
          </p:nvPr>
        </p:nvSpPr>
        <p:spPr>
          <a:xfrm>
            <a:off x="11130001" y="6393460"/>
            <a:ext cx="450000" cy="238125"/>
          </a:xfrm>
        </p:spPr>
        <p:txBody>
          <a:bodyPr/>
          <a:lstStyle/>
          <a:p>
            <a:fld id="{932C3248-DEA8-4406-A963-9ED55A9DA4F5}" type="slidenum">
              <a:rPr lang="nl-NL" smtClean="0"/>
              <a:pPr/>
              <a:t>‹nr.›</a:t>
            </a:fld>
            <a:endParaRPr lang="nl-NL"/>
          </a:p>
        </p:txBody>
      </p:sp>
    </p:spTree>
    <p:extLst>
      <p:ext uri="{BB962C8B-B14F-4D97-AF65-F5344CB8AC3E}">
        <p14:creationId xmlns:p14="http://schemas.microsoft.com/office/powerpoint/2010/main" val="65292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01CC53-A8ED-4AFA-89EB-0D1CC32BC9B7}"/>
              </a:ext>
            </a:extLst>
          </p:cNvPr>
          <p:cNvGraphicFramePr>
            <a:graphicFrameLocks noChangeAspect="1"/>
          </p:cNvGraphicFramePr>
          <p:nvPr userDrawn="1">
            <p:custDataLst>
              <p:tags r:id="rId5"/>
            </p:custDataLst>
            <p:extLst>
              <p:ext uri="{D42A27DB-BD31-4B8C-83A1-F6EECF244321}">
                <p14:modId xmlns:p14="http://schemas.microsoft.com/office/powerpoint/2010/main" val="113372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5" name="Object 4" hidden="1">
                        <a:extLst>
                          <a:ext uri="{FF2B5EF4-FFF2-40B4-BE49-F238E27FC236}">
                            <a16:creationId xmlns:a16="http://schemas.microsoft.com/office/drawing/2014/main" id="{E301CC53-A8ED-4AFA-89EB-0D1CC32BC9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86B5B069-D714-4EDE-AD86-0DB1C684CD81}"/>
              </a:ext>
            </a:extLst>
          </p:cNvPr>
          <p:cNvSpPr>
            <a:spLocks noGrp="1"/>
          </p:cNvSpPr>
          <p:nvPr>
            <p:ph type="title"/>
          </p:nvPr>
        </p:nvSpPr>
        <p:spPr>
          <a:xfrm>
            <a:off x="612000" y="612000"/>
            <a:ext cx="10969200" cy="546100"/>
          </a:xfrm>
          <a:prstGeom prst="rect">
            <a:avLst/>
          </a:prstGeom>
        </p:spPr>
        <p:txBody>
          <a:bodyPr vert="horz" lIns="0" tIns="0" rIns="0" bIns="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57A94508-1E25-4B7A-821C-C162C902F4D0}"/>
              </a:ext>
            </a:extLst>
          </p:cNvPr>
          <p:cNvSpPr>
            <a:spLocks noGrp="1"/>
          </p:cNvSpPr>
          <p:nvPr>
            <p:ph type="body" idx="1"/>
          </p:nvPr>
        </p:nvSpPr>
        <p:spPr>
          <a:xfrm>
            <a:off x="612000" y="2019600"/>
            <a:ext cx="10969200" cy="3560400"/>
          </a:xfrm>
          <a:prstGeom prst="rect">
            <a:avLst/>
          </a:prstGeom>
        </p:spPr>
        <p:txBody>
          <a:bodyPr vert="horz" lIns="0" tIns="0" rIns="0" bIns="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3">
            <a:extLst>
              <a:ext uri="{FF2B5EF4-FFF2-40B4-BE49-F238E27FC236}">
                <a16:creationId xmlns:a16="http://schemas.microsoft.com/office/drawing/2014/main" id="{FE33D3A0-9C1E-453B-9E7D-1048BBA59827}"/>
              </a:ext>
            </a:extLst>
          </p:cNvPr>
          <p:cNvSpPr>
            <a:spLocks noGrp="1"/>
          </p:cNvSpPr>
          <p:nvPr>
            <p:ph type="dt" sz="half" idx="2"/>
          </p:nvPr>
        </p:nvSpPr>
        <p:spPr>
          <a:xfrm>
            <a:off x="9420001" y="6459631"/>
            <a:ext cx="1710000" cy="238125"/>
          </a:xfrm>
          <a:prstGeom prst="rect">
            <a:avLst/>
          </a:prstGeom>
        </p:spPr>
        <p:txBody>
          <a:bodyPr lIns="0" tIns="0" rIns="0" bIns="0"/>
          <a:lstStyle>
            <a:lvl1pPr algn="r">
              <a:defRPr sz="1500"/>
            </a:lvl1pPr>
          </a:lstStyle>
          <a:p>
            <a:fld id="{049AC74C-5254-4E17-A657-2FD49EA9103A}" type="datetime4">
              <a:rPr lang="nl-NL" smtClean="0"/>
              <a:t>13 februari 2024</a:t>
            </a:fld>
            <a:endParaRPr lang="nl-NL"/>
          </a:p>
        </p:txBody>
      </p:sp>
      <p:sp>
        <p:nvSpPr>
          <p:cNvPr id="9" name="Tijdelijke aanduiding voor voettekst 4">
            <a:extLst>
              <a:ext uri="{FF2B5EF4-FFF2-40B4-BE49-F238E27FC236}">
                <a16:creationId xmlns:a16="http://schemas.microsoft.com/office/drawing/2014/main" id="{9FC8B4C2-DC67-476C-AB24-C788C06BFD17}"/>
              </a:ext>
            </a:extLst>
          </p:cNvPr>
          <p:cNvSpPr>
            <a:spLocks noGrp="1"/>
          </p:cNvSpPr>
          <p:nvPr>
            <p:ph type="ftr" sz="quarter" idx="3"/>
          </p:nvPr>
        </p:nvSpPr>
        <p:spPr>
          <a:xfrm>
            <a:off x="5305201" y="6459631"/>
            <a:ext cx="4114800" cy="238125"/>
          </a:xfrm>
          <a:prstGeom prst="rect">
            <a:avLst/>
          </a:prstGeom>
        </p:spPr>
        <p:txBody>
          <a:bodyPr lIns="0" tIns="0" rIns="0" bIns="0"/>
          <a:lstStyle>
            <a:lvl1pPr algn="r">
              <a:defRPr sz="1500" b="1"/>
            </a:lvl1pPr>
          </a:lstStyle>
          <a:p>
            <a:r>
              <a:rPr lang="nl-NL"/>
              <a:t>Titel van de presentatie</a:t>
            </a:r>
          </a:p>
        </p:txBody>
      </p:sp>
      <p:sp>
        <p:nvSpPr>
          <p:cNvPr id="10" name="Tijdelijke aanduiding voor dianummer 5">
            <a:extLst>
              <a:ext uri="{FF2B5EF4-FFF2-40B4-BE49-F238E27FC236}">
                <a16:creationId xmlns:a16="http://schemas.microsoft.com/office/drawing/2014/main" id="{4EC74FFC-0913-4702-AAB3-E5F1307968F3}"/>
              </a:ext>
            </a:extLst>
          </p:cNvPr>
          <p:cNvSpPr>
            <a:spLocks noGrp="1"/>
          </p:cNvSpPr>
          <p:nvPr>
            <p:ph type="sldNum" sz="quarter" idx="4"/>
          </p:nvPr>
        </p:nvSpPr>
        <p:spPr>
          <a:xfrm>
            <a:off x="11130001" y="6459631"/>
            <a:ext cx="450000" cy="238125"/>
          </a:xfrm>
          <a:prstGeom prst="rect">
            <a:avLst/>
          </a:prstGeom>
        </p:spPr>
        <p:txBody>
          <a:bodyPr lIns="0" tIns="0" rIns="0" bIns="0"/>
          <a:lstStyle>
            <a:lvl1pPr algn="r">
              <a:defRPr sz="1500"/>
            </a:lvl1pPr>
          </a:lstStyle>
          <a:p>
            <a:fld id="{932C3248-DEA8-4406-A963-9ED55A9DA4F5}" type="slidenum">
              <a:rPr lang="nl-NL" smtClean="0"/>
              <a:pPr/>
              <a:t>‹nr.›</a:t>
            </a:fld>
            <a:endParaRPr lang="nl-NL"/>
          </a:p>
        </p:txBody>
      </p:sp>
      <p:sp>
        <p:nvSpPr>
          <p:cNvPr id="11" name="Tekstvak 10">
            <a:extLst>
              <a:ext uri="{FF2B5EF4-FFF2-40B4-BE49-F238E27FC236}">
                <a16:creationId xmlns:a16="http://schemas.microsoft.com/office/drawing/2014/main" id="{6960413B-01CD-47DF-9CB1-53FA195B0E24}"/>
              </a:ext>
            </a:extLst>
          </p:cNvPr>
          <p:cNvSpPr txBox="1"/>
          <p:nvPr userDrawn="1"/>
        </p:nvSpPr>
        <p:spPr>
          <a:xfrm>
            <a:off x="182093" y="6465685"/>
            <a:ext cx="2540921" cy="238125"/>
          </a:xfrm>
          <a:prstGeom prst="rect">
            <a:avLst/>
          </a:prstGeom>
          <a:noFill/>
        </p:spPr>
        <p:txBody>
          <a:bodyPr wrap="square" lIns="0" tIns="0" rIns="0" bIns="0" rtlCol="0">
            <a:spAutoFit/>
          </a:bodyPr>
          <a:lstStyle/>
          <a:p>
            <a:r>
              <a:rPr lang="nl-NL" sz="1500" b="1">
                <a:solidFill>
                  <a:schemeClr val="bg2"/>
                </a:solidFill>
              </a:rPr>
              <a:t>Zadkine</a:t>
            </a:r>
          </a:p>
        </p:txBody>
      </p:sp>
    </p:spTree>
    <p:extLst>
      <p:ext uri="{BB962C8B-B14F-4D97-AF65-F5344CB8AC3E}">
        <p14:creationId xmlns:p14="http://schemas.microsoft.com/office/powerpoint/2010/main" val="21651518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Lst>
  <p:hf hdr="0"/>
  <p:txStyles>
    <p:titleStyle>
      <a:lvl1pPr algn="l" defTabSz="914400" rtl="0" eaLnBrk="1" latinLnBrk="0" hangingPunct="1">
        <a:lnSpc>
          <a:spcPts val="4300"/>
        </a:lnSpc>
        <a:spcBef>
          <a:spcPct val="0"/>
        </a:spcBef>
        <a:buNone/>
        <a:defRPr sz="3600" b="1" kern="1200">
          <a:solidFill>
            <a:schemeClr val="bg2"/>
          </a:solidFill>
          <a:latin typeface="+mj-lt"/>
          <a:ea typeface="+mj-ea"/>
          <a:cs typeface="+mj-cs"/>
        </a:defRPr>
      </a:lvl1pPr>
    </p:titleStyle>
    <p:bodyStyle>
      <a:lvl1pPr marL="288000" indent="-288000" algn="l" defTabSz="914400" rtl="0" eaLnBrk="1" latinLnBrk="0" hangingPunct="1">
        <a:lnSpc>
          <a:spcPct val="115000"/>
        </a:lnSpc>
        <a:spcBef>
          <a:spcPts val="0"/>
        </a:spcBef>
        <a:buClr>
          <a:schemeClr val="bg2"/>
        </a:buClr>
        <a:buFont typeface="Wingdings" panose="05000000000000000000" pitchFamily="2" charset="2"/>
        <a:buChar char="§"/>
        <a:defRPr sz="1800" kern="1200">
          <a:solidFill>
            <a:schemeClr val="tx1"/>
          </a:solidFill>
          <a:latin typeface="+mn-lt"/>
          <a:ea typeface="+mn-ea"/>
          <a:cs typeface="+mn-cs"/>
        </a:defRPr>
      </a:lvl1pPr>
      <a:lvl2pPr marL="576000" indent="-288000" algn="l" defTabSz="914400" rtl="0" eaLnBrk="1" latinLnBrk="0" hangingPunct="1">
        <a:lnSpc>
          <a:spcPct val="115000"/>
        </a:lnSpc>
        <a:spcBef>
          <a:spcPts val="0"/>
        </a:spcBef>
        <a:buClr>
          <a:schemeClr val="bg2"/>
        </a:buClr>
        <a:buFont typeface="Arial" panose="020B0604020202020204" pitchFamily="34" charset="0"/>
        <a:buChar char="›"/>
        <a:defRPr sz="1800" b="0" kern="1200">
          <a:solidFill>
            <a:schemeClr val="tx1"/>
          </a:solidFill>
          <a:latin typeface="+mn-lt"/>
          <a:ea typeface="+mn-ea"/>
          <a:cs typeface="+mn-cs"/>
        </a:defRPr>
      </a:lvl2pPr>
      <a:lvl3pPr marL="864000" indent="-288000" algn="l" defTabSz="914400" rtl="0" eaLnBrk="1" latinLnBrk="0" hangingPunct="1">
        <a:lnSpc>
          <a:spcPct val="115000"/>
        </a:lnSpc>
        <a:spcBef>
          <a:spcPts val="0"/>
        </a:spcBef>
        <a:buClr>
          <a:schemeClr val="bg2"/>
        </a:buClr>
        <a:buFont typeface="Wingdings" panose="05000000000000000000" pitchFamily="2" charset="2"/>
        <a:buChar char="§"/>
        <a:defRPr sz="1800" b="0" kern="1200">
          <a:solidFill>
            <a:schemeClr val="tx1"/>
          </a:solidFill>
          <a:latin typeface="+mn-lt"/>
          <a:ea typeface="+mn-ea"/>
          <a:cs typeface="+mn-cs"/>
        </a:defRPr>
      </a:lvl3pPr>
      <a:lvl4pPr marL="0" indent="0" algn="l" defTabSz="914400" rtl="0" eaLnBrk="1" latinLnBrk="0" hangingPunct="1">
        <a:lnSpc>
          <a:spcPct val="115000"/>
        </a:lnSpc>
        <a:spcBef>
          <a:spcPts val="0"/>
        </a:spcBef>
        <a:buClr>
          <a:schemeClr val="accent1"/>
        </a:buClr>
        <a:buFont typeface="Arial" panose="020B0604020202020204" pitchFamily="34" charset="0"/>
        <a:buNone/>
        <a:defRPr sz="1800" b="1" kern="1200">
          <a:solidFill>
            <a:schemeClr val="bg2"/>
          </a:solidFill>
          <a:latin typeface="+mn-lt"/>
          <a:ea typeface="+mn-ea"/>
          <a:cs typeface="+mn-cs"/>
        </a:defRPr>
      </a:lvl4pPr>
      <a:lvl5pPr marL="0" indent="0" algn="l" defTabSz="914400" rtl="0" eaLnBrk="1" latinLnBrk="0" hangingPunct="1">
        <a:lnSpc>
          <a:spcPct val="115000"/>
        </a:lnSpc>
        <a:spcBef>
          <a:spcPts val="0"/>
        </a:spcBef>
        <a:buClr>
          <a:schemeClr val="accent1"/>
        </a:buClr>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8E569F-6345-4788-BDED-0AC39EA3F48C}"/>
              </a:ext>
            </a:extLst>
          </p:cNvPr>
          <p:cNvGraphicFramePr>
            <a:graphicFrameLocks noChangeAspect="1"/>
          </p:cNvGraphicFramePr>
          <p:nvPr>
            <p:custDataLst>
              <p:tags r:id="rId1"/>
            </p:custDataLst>
            <p:extLst>
              <p:ext uri="{D42A27DB-BD31-4B8C-83A1-F6EECF244321}">
                <p14:modId xmlns:p14="http://schemas.microsoft.com/office/powerpoint/2010/main" val="176721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D68E569F-6345-4788-BDED-0AC39EA3F4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F8AEFAC-9382-4988-8C0E-1A3504926371}"/>
              </a:ext>
            </a:extLst>
          </p:cNvPr>
          <p:cNvSpPr>
            <a:spLocks noGrp="1"/>
          </p:cNvSpPr>
          <p:nvPr>
            <p:ph type="ctrTitle"/>
          </p:nvPr>
        </p:nvSpPr>
        <p:spPr>
          <a:xfrm>
            <a:off x="6475465" y="528645"/>
            <a:ext cx="5054878" cy="982114"/>
          </a:xfrm>
          <a:solidFill>
            <a:schemeClr val="bg1">
              <a:alpha val="54000"/>
            </a:schemeClr>
          </a:solidFill>
        </p:spPr>
        <p:txBody>
          <a:bodyPr vert="horz" lIns="0" tIns="0" rIns="0" bIns="0" rtlCol="0" anchor="ctr" anchorCtr="0">
            <a:noAutofit/>
          </a:bodyPr>
          <a:lstStyle/>
          <a:p>
            <a:r>
              <a:rPr lang="nl-NL" sz="6000" dirty="0">
                <a:solidFill>
                  <a:srgbClr val="D60390"/>
                </a:solidFill>
                <a:latin typeface="Calibri"/>
                <a:ea typeface="Calibri"/>
                <a:cs typeface="Calibri"/>
              </a:rPr>
              <a:t>Verzuimcijfers</a:t>
            </a:r>
            <a:endParaRPr lang="nl-NL" sz="6000" dirty="0">
              <a:solidFill>
                <a:srgbClr val="D60390"/>
              </a:solidFill>
              <a:latin typeface="Calibri" panose="020F0502020204030204" pitchFamily="34" charset="0"/>
              <a:cs typeface="Calibri" panose="020F0502020204030204" pitchFamily="34" charset="0"/>
            </a:endParaRPr>
          </a:p>
        </p:txBody>
      </p:sp>
      <p:sp>
        <p:nvSpPr>
          <p:cNvPr id="5" name="Titel 1">
            <a:extLst>
              <a:ext uri="{FF2B5EF4-FFF2-40B4-BE49-F238E27FC236}">
                <a16:creationId xmlns:a16="http://schemas.microsoft.com/office/drawing/2014/main" id="{43B522E9-DF81-43A9-B597-7758AB2ABD87}"/>
              </a:ext>
            </a:extLst>
          </p:cNvPr>
          <p:cNvSpPr txBox="1">
            <a:spLocks/>
          </p:cNvSpPr>
          <p:nvPr/>
        </p:nvSpPr>
        <p:spPr>
          <a:xfrm>
            <a:off x="621658" y="2045143"/>
            <a:ext cx="7796419" cy="784426"/>
          </a:xfrm>
          <a:prstGeom prst="rect">
            <a:avLst/>
          </a:prstGeom>
          <a:solidFill>
            <a:schemeClr val="bg1">
              <a:alpha val="54000"/>
            </a:schemeClr>
          </a:solidFill>
        </p:spPr>
        <p:txBody>
          <a:bodyPr vert="horz" lIns="0" tIns="0" rIns="0" bIns="0" rtlCol="0" anchor="ctr" anchorCtr="0">
            <a:noAutofit/>
          </a:bodyPr>
          <a:lstStyle>
            <a:lvl1pPr algn="l" defTabSz="914400" rtl="0" eaLnBrk="1" latinLnBrk="0" hangingPunct="1">
              <a:lnSpc>
                <a:spcPts val="5400"/>
              </a:lnSpc>
              <a:spcBef>
                <a:spcPct val="0"/>
              </a:spcBef>
              <a:buNone/>
              <a:defRPr sz="4500" b="1" kern="1200">
                <a:solidFill>
                  <a:schemeClr val="bg2"/>
                </a:solidFill>
                <a:latin typeface="+mj-lt"/>
                <a:ea typeface="+mj-ea"/>
                <a:cs typeface="+mj-cs"/>
              </a:defRPr>
            </a:lvl1pPr>
          </a:lstStyle>
          <a:p>
            <a:r>
              <a:rPr lang="nl-NL" sz="4000" dirty="0">
                <a:solidFill>
                  <a:srgbClr val="0070C0"/>
                </a:solidFill>
                <a:latin typeface="Calibri" panose="020F0502020204030204" pitchFamily="34" charset="0"/>
                <a:cs typeface="Calibri" panose="020F0502020204030204" pitchFamily="34" charset="0"/>
              </a:rPr>
              <a:t>2023</a:t>
            </a:r>
          </a:p>
        </p:txBody>
      </p:sp>
      <p:pic>
        <p:nvPicPr>
          <p:cNvPr id="6" name="Afbeelding 5">
            <a:extLst>
              <a:ext uri="{FF2B5EF4-FFF2-40B4-BE49-F238E27FC236}">
                <a16:creationId xmlns:a16="http://schemas.microsoft.com/office/drawing/2014/main" id="{CDBC22BC-E150-4F9B-B01A-676B75CCD6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4506" y="4420644"/>
            <a:ext cx="3562927" cy="1908711"/>
          </a:xfrm>
          <a:prstGeom prst="rect">
            <a:avLst/>
          </a:prstGeom>
        </p:spPr>
      </p:pic>
      <p:pic>
        <p:nvPicPr>
          <p:cNvPr id="2052" name="Picture 4" descr="Verlaag je Verzuim Voorgoed - Midz.nl -">
            <a:extLst>
              <a:ext uri="{FF2B5EF4-FFF2-40B4-BE49-F238E27FC236}">
                <a16:creationId xmlns:a16="http://schemas.microsoft.com/office/drawing/2014/main" id="{49C47FEC-EA7C-482D-9866-CB10B35234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9094" y="2889855"/>
            <a:ext cx="5553075" cy="323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6254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798CF0-C641-4135-A462-A58F4682EC12}"/>
              </a:ext>
            </a:extLst>
          </p:cNvPr>
          <p:cNvGraphicFramePr>
            <a:graphicFrameLocks noChangeAspect="1"/>
          </p:cNvGraphicFramePr>
          <p:nvPr>
            <p:custDataLst>
              <p:tags r:id="rId1"/>
            </p:custDataLst>
            <p:extLst>
              <p:ext uri="{D42A27DB-BD31-4B8C-83A1-F6EECF244321}">
                <p14:modId xmlns:p14="http://schemas.microsoft.com/office/powerpoint/2010/main" val="1831495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94798CF0-C641-4135-A462-A58F4682E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FBCE4F5-9237-43E7-9A9E-D47852245B69}"/>
              </a:ext>
            </a:extLst>
          </p:cNvPr>
          <p:cNvSpPr>
            <a:spLocks noGrp="1"/>
          </p:cNvSpPr>
          <p:nvPr>
            <p:ph type="title"/>
          </p:nvPr>
        </p:nvSpPr>
        <p:spPr>
          <a:xfrm>
            <a:off x="604352" y="177491"/>
            <a:ext cx="11190484" cy="860575"/>
          </a:xfrm>
        </p:spPr>
        <p:txBody>
          <a:bodyPr vert="horz">
            <a:noAutofit/>
          </a:bodyPr>
          <a:lstStyle/>
          <a:p>
            <a:r>
              <a:rPr lang="nl-NL" sz="3200">
                <a:latin typeface="Calibri" panose="020F0502020204030204" pitchFamily="34" charset="0"/>
                <a:cs typeface="Calibri" panose="020F0502020204030204" pitchFamily="34" charset="0"/>
              </a:rPr>
              <a:t>Verzuim % per jaar</a:t>
            </a:r>
            <a:br>
              <a:rPr lang="nl-NL" sz="3200">
                <a:latin typeface="Calibri" panose="020F0502020204030204" pitchFamily="34" charset="0"/>
                <a:cs typeface="Calibri" panose="020F0502020204030204" pitchFamily="34" charset="0"/>
              </a:rPr>
            </a:br>
            <a:r>
              <a:rPr lang="nl-NL" sz="3200">
                <a:latin typeface="Calibri" panose="020F0502020204030204" pitchFamily="34" charset="0"/>
                <a:cs typeface="Calibri" panose="020F0502020204030204" pitchFamily="34" charset="0"/>
              </a:rPr>
              <a:t>     </a:t>
            </a:r>
            <a:r>
              <a:rPr lang="nl-NL" sz="3200">
                <a:solidFill>
                  <a:srgbClr val="002060"/>
                </a:solidFill>
                <a:latin typeface="Calibri" panose="020F0502020204030204" pitchFamily="34" charset="0"/>
                <a:cs typeface="Calibri" panose="020F0502020204030204" pitchFamily="34" charset="0"/>
              </a:rPr>
              <a:t>Zadkine</a:t>
            </a:r>
            <a:r>
              <a:rPr lang="nl-NL" sz="3200">
                <a:latin typeface="Calibri" panose="020F0502020204030204" pitchFamily="34" charset="0"/>
                <a:cs typeface="Calibri" panose="020F0502020204030204" pitchFamily="34" charset="0"/>
              </a:rPr>
              <a:t>        </a:t>
            </a:r>
            <a:r>
              <a:rPr lang="nl-NL" sz="3200">
                <a:solidFill>
                  <a:schemeClr val="tx2">
                    <a:lumMod val="25000"/>
                    <a:lumOff val="75000"/>
                  </a:schemeClr>
                </a:solidFill>
                <a:latin typeface="Calibri" panose="020F0502020204030204" pitchFamily="34" charset="0"/>
                <a:cs typeface="Calibri" panose="020F0502020204030204" pitchFamily="34" charset="0"/>
              </a:rPr>
              <a:t>Onderwijs       </a:t>
            </a:r>
            <a:r>
              <a:rPr lang="nl-NL" sz="3200">
                <a:solidFill>
                  <a:schemeClr val="tx2">
                    <a:lumMod val="10000"/>
                    <a:lumOff val="90000"/>
                  </a:schemeClr>
                </a:solidFill>
                <a:latin typeface="Calibri" panose="020F0502020204030204" pitchFamily="34" charset="0"/>
                <a:cs typeface="Calibri" panose="020F0502020204030204" pitchFamily="34" charset="0"/>
              </a:rPr>
              <a:t>Diensten	</a:t>
            </a:r>
            <a:r>
              <a:rPr lang="nl-NL" sz="3200">
                <a:latin typeface="Calibri" panose="020F0502020204030204" pitchFamily="34" charset="0"/>
                <a:cs typeface="Calibri" panose="020F0502020204030204" pitchFamily="34" charset="0"/>
              </a:rPr>
              <a:t>				</a:t>
            </a:r>
            <a:endParaRPr lang="nl-NL" sz="2400" b="0" i="1">
              <a:solidFill>
                <a:srgbClr val="0070C0"/>
              </a:solidFill>
              <a:latin typeface="Calibri" panose="020F0502020204030204" pitchFamily="34" charset="0"/>
              <a:cs typeface="Calibri" panose="020F0502020204030204" pitchFamily="34" charset="0"/>
            </a:endParaRPr>
          </a:p>
        </p:txBody>
      </p:sp>
      <p:sp>
        <p:nvSpPr>
          <p:cNvPr id="7" name="Tijdelijke aanduiding voor dianummer 6">
            <a:extLst>
              <a:ext uri="{FF2B5EF4-FFF2-40B4-BE49-F238E27FC236}">
                <a16:creationId xmlns:a16="http://schemas.microsoft.com/office/drawing/2014/main" id="{19782392-C2A9-4DD1-88CA-4222ADCF2CC9}"/>
              </a:ext>
            </a:extLst>
          </p:cNvPr>
          <p:cNvSpPr>
            <a:spLocks noGrp="1"/>
          </p:cNvSpPr>
          <p:nvPr>
            <p:ph type="sldNum" sz="quarter" idx="16"/>
          </p:nvPr>
        </p:nvSpPr>
        <p:spPr>
          <a:xfrm>
            <a:off x="11573553" y="6601886"/>
            <a:ext cx="450000" cy="174228"/>
          </a:xfrm>
        </p:spPr>
        <p:txBody>
          <a:bodyPr/>
          <a:lstStyle/>
          <a:p>
            <a:fld id="{932C3248-DEA8-4406-A963-9ED55A9DA4F5}" type="slidenum">
              <a:rPr lang="nl-NL" sz="1000" smtClean="0">
                <a:latin typeface="Calibri" panose="020F0502020204030204" pitchFamily="34" charset="0"/>
                <a:cs typeface="Calibri" panose="020F0502020204030204" pitchFamily="34" charset="0"/>
              </a:rPr>
              <a:pPr/>
              <a:t>2</a:t>
            </a:fld>
            <a:endParaRPr lang="nl-NL" sz="1000">
              <a:latin typeface="Calibri" panose="020F0502020204030204" pitchFamily="34" charset="0"/>
              <a:cs typeface="Calibri" panose="020F0502020204030204" pitchFamily="34" charset="0"/>
            </a:endParaRPr>
          </a:p>
        </p:txBody>
      </p:sp>
      <p:sp>
        <p:nvSpPr>
          <p:cNvPr id="9" name="Tijdelijke aanduiding voor inhoud 2">
            <a:extLst>
              <a:ext uri="{FF2B5EF4-FFF2-40B4-BE49-F238E27FC236}">
                <a16:creationId xmlns:a16="http://schemas.microsoft.com/office/drawing/2014/main" id="{F5B0E285-D265-4847-ED9A-BF5A00D248B1}"/>
              </a:ext>
            </a:extLst>
          </p:cNvPr>
          <p:cNvSpPr txBox="1">
            <a:spLocks/>
          </p:cNvSpPr>
          <p:nvPr/>
        </p:nvSpPr>
        <p:spPr>
          <a:xfrm>
            <a:off x="516216" y="4287914"/>
            <a:ext cx="11278620" cy="2152893"/>
          </a:xfrm>
          <a:prstGeom prst="rect">
            <a:avLst/>
          </a:prstGeom>
          <a:solidFill>
            <a:schemeClr val="bg1">
              <a:lumMod val="95000"/>
            </a:schemeClr>
          </a:solidFill>
        </p:spPr>
        <p:txBody>
          <a:bodyPr vert="horz" lIns="0" tIns="0" rIns="0" bIns="0" rtlCol="0" anchor="t">
            <a:noAutofit/>
          </a:bodyPr>
          <a:lstStyle>
            <a:lvl1pPr marL="288000" indent="-288000" algn="l" defTabSz="914400" rtl="0" eaLnBrk="1" latinLnBrk="0" hangingPunct="1">
              <a:lnSpc>
                <a:spcPct val="115000"/>
              </a:lnSpc>
              <a:spcBef>
                <a:spcPts val="0"/>
              </a:spcBef>
              <a:buClr>
                <a:schemeClr val="bg2"/>
              </a:buClr>
              <a:buFont typeface="Wingdings" panose="05000000000000000000" pitchFamily="2" charset="2"/>
              <a:buChar char="§"/>
              <a:defRPr sz="1800" kern="1200">
                <a:solidFill>
                  <a:schemeClr val="tx1"/>
                </a:solidFill>
                <a:latin typeface="+mn-lt"/>
                <a:ea typeface="+mn-ea"/>
                <a:cs typeface="+mn-cs"/>
              </a:defRPr>
            </a:lvl1pPr>
            <a:lvl2pPr marL="576000" indent="-288000" algn="l" defTabSz="914400" rtl="0" eaLnBrk="1" latinLnBrk="0" hangingPunct="1">
              <a:lnSpc>
                <a:spcPct val="115000"/>
              </a:lnSpc>
              <a:spcBef>
                <a:spcPts val="0"/>
              </a:spcBef>
              <a:buClr>
                <a:schemeClr val="bg2"/>
              </a:buClr>
              <a:buFont typeface="Arial" panose="020B0604020202020204" pitchFamily="34" charset="0"/>
              <a:buChar char="›"/>
              <a:defRPr sz="1800" b="0" kern="1200">
                <a:solidFill>
                  <a:schemeClr val="tx1"/>
                </a:solidFill>
                <a:latin typeface="+mn-lt"/>
                <a:ea typeface="+mn-ea"/>
                <a:cs typeface="+mn-cs"/>
              </a:defRPr>
            </a:lvl2pPr>
            <a:lvl3pPr marL="864000" indent="-288000" algn="l" defTabSz="914400" rtl="0" eaLnBrk="1" latinLnBrk="0" hangingPunct="1">
              <a:lnSpc>
                <a:spcPct val="115000"/>
              </a:lnSpc>
              <a:spcBef>
                <a:spcPts val="0"/>
              </a:spcBef>
              <a:buClr>
                <a:schemeClr val="bg2"/>
              </a:buClr>
              <a:buFont typeface="Wingdings" panose="05000000000000000000" pitchFamily="2" charset="2"/>
              <a:buChar char="§"/>
              <a:defRPr sz="1800" b="0" kern="1200">
                <a:solidFill>
                  <a:schemeClr val="tx1"/>
                </a:solidFill>
                <a:latin typeface="+mn-lt"/>
                <a:ea typeface="+mn-ea"/>
                <a:cs typeface="+mn-cs"/>
              </a:defRPr>
            </a:lvl3pPr>
            <a:lvl4pPr marL="0" indent="0" algn="l" defTabSz="914400" rtl="0" eaLnBrk="1" latinLnBrk="0" hangingPunct="1">
              <a:lnSpc>
                <a:spcPct val="115000"/>
              </a:lnSpc>
              <a:spcBef>
                <a:spcPts val="0"/>
              </a:spcBef>
              <a:buClr>
                <a:schemeClr val="accent1"/>
              </a:buClr>
              <a:buFont typeface="Arial" panose="020B0604020202020204" pitchFamily="34" charset="0"/>
              <a:buNone/>
              <a:defRPr sz="1800" b="1" kern="1200">
                <a:solidFill>
                  <a:schemeClr val="bg2"/>
                </a:solidFill>
                <a:latin typeface="+mn-lt"/>
                <a:ea typeface="+mn-ea"/>
                <a:cs typeface="+mn-cs"/>
              </a:defRPr>
            </a:lvl4pPr>
            <a:lvl5pPr marL="0" indent="0" algn="l" defTabSz="914400" rtl="0" eaLnBrk="1" latinLnBrk="0" hangingPunct="1">
              <a:lnSpc>
                <a:spcPct val="115000"/>
              </a:lnSpc>
              <a:spcBef>
                <a:spcPts val="0"/>
              </a:spcBef>
              <a:buClr>
                <a:schemeClr val="accent1"/>
              </a:buClr>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fontAlgn="base">
              <a:buNone/>
            </a:pPr>
            <a:r>
              <a:rPr lang="nl-NL" sz="1400" b="1" i="0" u="none" strike="noStrike" dirty="0" err="1">
                <a:solidFill>
                  <a:srgbClr val="333333"/>
                </a:solidFill>
                <a:effectLst/>
                <a:latin typeface="Calibri" panose="020F0502020204030204" pitchFamily="34" charset="0"/>
              </a:rPr>
              <a:t>Zadkinebreed</a:t>
            </a:r>
            <a:r>
              <a:rPr lang="nl-NL" sz="1400" b="0" i="0" dirty="0">
                <a:solidFill>
                  <a:srgbClr val="333333"/>
                </a:solidFill>
                <a:effectLst/>
                <a:latin typeface="Calibri" panose="020F0502020204030204" pitchFamily="34" charset="0"/>
              </a:rPr>
              <a:t>​</a:t>
            </a:r>
            <a:endParaRPr lang="nl-NL" sz="1400" b="0" i="0" dirty="0">
              <a:solidFill>
                <a:srgbClr val="333333"/>
              </a:solidFill>
              <a:effectLst/>
              <a:latin typeface="Segoe UI" panose="020B0502040204020203" pitchFamily="34" charset="0"/>
            </a:endParaRPr>
          </a:p>
          <a:p>
            <a:pPr algn="l" rtl="0" fontAlgn="base">
              <a:buFont typeface="Arial" panose="020B0604020202020204" pitchFamily="34" charset="0"/>
              <a:buChar char="•"/>
            </a:pPr>
            <a:r>
              <a:rPr lang="nl-NL" sz="1400" b="0" i="0" u="none" strike="noStrike" dirty="0">
                <a:solidFill>
                  <a:srgbClr val="333333"/>
                </a:solidFill>
                <a:effectLst/>
                <a:latin typeface="Calibri" panose="020F0502020204030204" pitchFamily="34" charset="0"/>
              </a:rPr>
              <a:t>Het verzuimpercentage is gedaald met 0,6% ten opzichte van vorig jaar en staat nu Zadkine breed op </a:t>
            </a:r>
            <a:r>
              <a:rPr lang="nl-NL" sz="1400" dirty="0">
                <a:solidFill>
                  <a:srgbClr val="333333"/>
                </a:solidFill>
                <a:latin typeface="Calibri" panose="020F0502020204030204" pitchFamily="34" charset="0"/>
              </a:rPr>
              <a:t>7</a:t>
            </a:r>
            <a:r>
              <a:rPr lang="nl-NL" sz="1400" b="0" i="0" u="none" strike="noStrike" dirty="0">
                <a:solidFill>
                  <a:srgbClr val="333333"/>
                </a:solidFill>
                <a:effectLst/>
                <a:latin typeface="Calibri" panose="020F0502020204030204" pitchFamily="34" charset="0"/>
              </a:rPr>
              <a:t>%</a:t>
            </a:r>
            <a:r>
              <a:rPr lang="en-US" sz="1400" b="0" i="0" dirty="0">
                <a:solidFill>
                  <a:srgbClr val="333333"/>
                </a:solidFill>
                <a:effectLst/>
                <a:latin typeface="Calibri" panose="020F0502020204030204" pitchFamily="34" charset="0"/>
              </a:rPr>
              <a:t>​. </a:t>
            </a:r>
            <a:endParaRPr lang="en-US" sz="1400" b="0" i="0" dirty="0">
              <a:solidFill>
                <a:srgbClr val="333333"/>
              </a:solidFill>
              <a:effectLst/>
              <a:latin typeface="Arial" panose="020B0604020202020204" pitchFamily="34" charset="0"/>
            </a:endParaRPr>
          </a:p>
          <a:p>
            <a:pPr algn="l" rtl="0" fontAlgn="base">
              <a:buFont typeface="Arial" panose="020B0604020202020204" pitchFamily="34" charset="0"/>
              <a:buChar char="•"/>
            </a:pPr>
            <a:r>
              <a:rPr lang="nl-NL" sz="1400" b="0" i="0" u="none" strike="noStrike" dirty="0">
                <a:solidFill>
                  <a:srgbClr val="333333"/>
                </a:solidFill>
                <a:effectLst/>
                <a:latin typeface="Calibri" panose="020F0502020204030204" pitchFamily="34" charset="0"/>
              </a:rPr>
              <a:t>Het verzuimpercentage in Q4 is gestegen naar </a:t>
            </a:r>
            <a:r>
              <a:rPr lang="nl-NL" sz="1400" dirty="0">
                <a:solidFill>
                  <a:srgbClr val="333333"/>
                </a:solidFill>
                <a:latin typeface="Calibri" panose="020F0502020204030204" pitchFamily="34" charset="0"/>
              </a:rPr>
              <a:t>8,3%</a:t>
            </a:r>
            <a:r>
              <a:rPr lang="nl-NL" sz="1400" b="0" i="0" u="none" strike="noStrike" dirty="0">
                <a:solidFill>
                  <a:srgbClr val="333333"/>
                </a:solidFill>
                <a:effectLst/>
                <a:latin typeface="Calibri" panose="020F0502020204030204" pitchFamily="34" charset="0"/>
              </a:rPr>
              <a:t> </a:t>
            </a:r>
            <a:r>
              <a:rPr lang="nl-NL" sz="1400" dirty="0">
                <a:solidFill>
                  <a:srgbClr val="333333"/>
                </a:solidFill>
                <a:latin typeface="Calibri" panose="020F0502020204030204" pitchFamily="34" charset="0"/>
              </a:rPr>
              <a:t>en is m.n. in het onderwijs met 8,5% aan de hoge kant.</a:t>
            </a:r>
            <a:endParaRPr lang="nl-NL" sz="1400" b="0" i="0" dirty="0">
              <a:solidFill>
                <a:srgbClr val="333333"/>
              </a:solidFill>
              <a:effectLst/>
              <a:latin typeface="Arial" panose="020B0604020202020204" pitchFamily="34" charset="0"/>
            </a:endParaRPr>
          </a:p>
          <a:p>
            <a:pPr marL="0" indent="0" algn="l" rtl="0" fontAlgn="base">
              <a:buNone/>
            </a:pPr>
            <a:endParaRPr lang="nl-NL" sz="1400" b="0" i="0" dirty="0">
              <a:solidFill>
                <a:srgbClr val="333333"/>
              </a:solidFill>
              <a:effectLst/>
              <a:latin typeface="Segoe UI" panose="020B0502040204020203" pitchFamily="34" charset="0"/>
            </a:endParaRPr>
          </a:p>
          <a:p>
            <a:pPr marL="0" indent="0" algn="l" rtl="0" fontAlgn="base">
              <a:buNone/>
            </a:pPr>
            <a:r>
              <a:rPr lang="nl-NL" sz="1400" b="1" i="0" u="none" strike="noStrike" dirty="0">
                <a:solidFill>
                  <a:srgbClr val="333333"/>
                </a:solidFill>
                <a:effectLst/>
                <a:latin typeface="Calibri" panose="020F0502020204030204" pitchFamily="34" charset="0"/>
              </a:rPr>
              <a:t>Onderwijs en Diensten</a:t>
            </a:r>
            <a:r>
              <a:rPr lang="en-US" sz="1400" b="0" i="0" dirty="0">
                <a:solidFill>
                  <a:srgbClr val="333333"/>
                </a:solidFill>
                <a:effectLst/>
                <a:latin typeface="Calibri" panose="020F0502020204030204" pitchFamily="34" charset="0"/>
              </a:rPr>
              <a:t>​</a:t>
            </a:r>
            <a:endParaRPr lang="en-US" sz="1400" b="0" i="0" dirty="0">
              <a:solidFill>
                <a:srgbClr val="333333"/>
              </a:solidFill>
              <a:effectLst/>
              <a:latin typeface="Segoe UI" panose="020B0502040204020203" pitchFamily="34" charset="0"/>
            </a:endParaRPr>
          </a:p>
          <a:p>
            <a:pPr algn="l" rtl="0" fontAlgn="base">
              <a:buFont typeface="Arial" panose="020B0604020202020204" pitchFamily="34" charset="0"/>
              <a:buChar char="•"/>
            </a:pPr>
            <a:r>
              <a:rPr lang="nl-NL" sz="1400" b="0" i="0" u="none" strike="noStrike" dirty="0">
                <a:solidFill>
                  <a:srgbClr val="333333"/>
                </a:solidFill>
                <a:effectLst/>
                <a:latin typeface="Calibri" panose="020F0502020204030204" pitchFamily="34" charset="0"/>
              </a:rPr>
              <a:t>Het verzuim binnen de diensten (6,5%) laat een lager percentage zien t.o.v. het onderwijs (</a:t>
            </a:r>
            <a:r>
              <a:rPr lang="nl-NL" sz="1400" dirty="0">
                <a:solidFill>
                  <a:srgbClr val="333333"/>
                </a:solidFill>
                <a:latin typeface="Calibri" panose="020F0502020204030204" pitchFamily="34" charset="0"/>
              </a:rPr>
              <a:t>7,2</a:t>
            </a:r>
            <a:r>
              <a:rPr lang="nl-NL" sz="1400" b="0" i="0" u="none" strike="noStrike" dirty="0">
                <a:solidFill>
                  <a:srgbClr val="333333"/>
                </a:solidFill>
                <a:effectLst/>
                <a:latin typeface="Calibri" panose="020F0502020204030204" pitchFamily="34" charset="0"/>
              </a:rPr>
              <a:t>%)</a:t>
            </a:r>
            <a:r>
              <a:rPr lang="nl-NL" sz="1400" b="0" i="0" dirty="0">
                <a:solidFill>
                  <a:srgbClr val="333333"/>
                </a:solidFill>
                <a:effectLst/>
                <a:latin typeface="Calibri" panose="020F0502020204030204" pitchFamily="34" charset="0"/>
              </a:rPr>
              <a:t>​</a:t>
            </a:r>
            <a:endParaRPr lang="nl-NL" sz="1400" b="0" i="0" dirty="0">
              <a:solidFill>
                <a:srgbClr val="333333"/>
              </a:solidFill>
              <a:effectLst/>
              <a:latin typeface="Arial" panose="020B0604020202020204" pitchFamily="34" charset="0"/>
            </a:endParaRPr>
          </a:p>
          <a:p>
            <a:pPr algn="l" rtl="0" fontAlgn="base">
              <a:buFont typeface="Arial" panose="020B0604020202020204" pitchFamily="34" charset="0"/>
              <a:buChar char="•"/>
            </a:pPr>
            <a:r>
              <a:rPr lang="nl-NL" sz="1400" b="0" i="0" u="none" strike="noStrike" dirty="0">
                <a:solidFill>
                  <a:srgbClr val="333333"/>
                </a:solidFill>
                <a:effectLst/>
                <a:latin typeface="Calibri" panose="020F0502020204030204" pitchFamily="34" charset="0"/>
              </a:rPr>
              <a:t>M.n. in Q4 is het percentage ten opzichte van Q3 hoger voor zowel het onderwijs als de diensten. Dit is een stijging maar ook een herkenbare golfbeweging in de winterperiode. </a:t>
            </a:r>
            <a:endParaRPr lang="nl-NL" sz="1400" dirty="0">
              <a:latin typeface="Calibri" panose="020F0502020204030204" pitchFamily="34" charset="0"/>
              <a:cs typeface="Calibri" panose="020F0502020204030204" pitchFamily="34" charset="0"/>
            </a:endParaRPr>
          </a:p>
          <a:p>
            <a:pPr marL="287655" indent="-287655"/>
            <a:endParaRPr lang="nl-NL" sz="1100" dirty="0">
              <a:latin typeface="Calibri" panose="020F0502020204030204" pitchFamily="34" charset="0"/>
              <a:cs typeface="Calibri" panose="020F0502020204030204" pitchFamily="34" charset="0"/>
            </a:endParaRPr>
          </a:p>
          <a:p>
            <a:pPr marL="287655" indent="-287655"/>
            <a:endParaRPr lang="nl-NL" sz="1100" dirty="0">
              <a:latin typeface="Calibri" panose="020F0502020204030204" pitchFamily="34" charset="0"/>
              <a:cs typeface="Calibri" panose="020F0502020204030204" pitchFamily="34" charset="0"/>
            </a:endParaRPr>
          </a:p>
          <a:p>
            <a:pPr marL="287655" indent="-287655" algn="just"/>
            <a:endParaRPr lang="nl-NL" sz="1100" dirty="0">
              <a:latin typeface="Calibri" panose="020F0502020204030204" pitchFamily="34" charset="0"/>
              <a:cs typeface="Calibri" panose="020F0502020204030204" pitchFamily="34" charset="0"/>
            </a:endParaRPr>
          </a:p>
          <a:p>
            <a:pPr marL="287655" indent="-287655" algn="just"/>
            <a:endParaRPr lang="nl-NL" sz="1100" dirty="0">
              <a:latin typeface="Calibri" panose="020F0502020204030204" pitchFamily="34" charset="0"/>
              <a:cs typeface="Calibri" panose="020F0502020204030204" pitchFamily="34" charset="0"/>
            </a:endParaRPr>
          </a:p>
          <a:p>
            <a:pPr marL="0" indent="0" algn="just">
              <a:buFont typeface="Wingdings" panose="05000000000000000000" pitchFamily="2" charset="2"/>
              <a:buNone/>
            </a:pPr>
            <a:endParaRPr lang="nl-NL" sz="1100" dirty="0">
              <a:latin typeface="Calibri" panose="020F0502020204030204" pitchFamily="34" charset="0"/>
              <a:cs typeface="Calibri" panose="020F0502020204030204" pitchFamily="34" charset="0"/>
            </a:endParaRPr>
          </a:p>
          <a:p>
            <a:pPr marL="287655" indent="-287655" algn="just"/>
            <a:endParaRPr lang="nl-NL" sz="1100" dirty="0">
              <a:solidFill>
                <a:schemeClr val="bg2"/>
              </a:solidFill>
              <a:latin typeface="Calibri" panose="020F0502020204030204" pitchFamily="34" charset="0"/>
              <a:cs typeface="Calibri" panose="020F0502020204030204" pitchFamily="34" charset="0"/>
            </a:endParaRPr>
          </a:p>
          <a:p>
            <a:pPr marL="287655" indent="-287655" algn="just"/>
            <a:endParaRPr lang="nl-NL" sz="2800" dirty="0">
              <a:solidFill>
                <a:schemeClr val="bg2"/>
              </a:solidFill>
              <a:latin typeface="Calibri" panose="020F0502020204030204" pitchFamily="34" charset="0"/>
              <a:cs typeface="Calibri" panose="020F0502020204030204" pitchFamily="34" charset="0"/>
            </a:endParaRPr>
          </a:p>
        </p:txBody>
      </p:sp>
      <p:sp>
        <p:nvSpPr>
          <p:cNvPr id="4" name="Rechthoek 3">
            <a:extLst>
              <a:ext uri="{FF2B5EF4-FFF2-40B4-BE49-F238E27FC236}">
                <a16:creationId xmlns:a16="http://schemas.microsoft.com/office/drawing/2014/main" id="{ACE0CDFF-C6BE-438C-B96F-81B187FC5C9D}"/>
              </a:ext>
            </a:extLst>
          </p:cNvPr>
          <p:cNvSpPr/>
          <p:nvPr/>
        </p:nvSpPr>
        <p:spPr>
          <a:xfrm>
            <a:off x="604352" y="718576"/>
            <a:ext cx="319490" cy="31949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a:extLst>
              <a:ext uri="{FF2B5EF4-FFF2-40B4-BE49-F238E27FC236}">
                <a16:creationId xmlns:a16="http://schemas.microsoft.com/office/drawing/2014/main" id="{DEF2413E-A631-48D7-8789-647F3CEDAE31}"/>
              </a:ext>
            </a:extLst>
          </p:cNvPr>
          <p:cNvSpPr/>
          <p:nvPr/>
        </p:nvSpPr>
        <p:spPr>
          <a:xfrm>
            <a:off x="2701864" y="715548"/>
            <a:ext cx="319490" cy="319490"/>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hthoek 10">
            <a:extLst>
              <a:ext uri="{FF2B5EF4-FFF2-40B4-BE49-F238E27FC236}">
                <a16:creationId xmlns:a16="http://schemas.microsoft.com/office/drawing/2014/main" id="{C3F4E6A7-2394-4449-8E60-1E335FB22672}"/>
              </a:ext>
            </a:extLst>
          </p:cNvPr>
          <p:cNvSpPr/>
          <p:nvPr/>
        </p:nvSpPr>
        <p:spPr>
          <a:xfrm>
            <a:off x="5118866" y="728097"/>
            <a:ext cx="319490" cy="319490"/>
          </a:xfrm>
          <a:prstGeom prst="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26" name="Afbeelding 1">
            <a:extLst>
              <a:ext uri="{FF2B5EF4-FFF2-40B4-BE49-F238E27FC236}">
                <a16:creationId xmlns:a16="http://schemas.microsoft.com/office/drawing/2014/main" id="{E5413869-188D-4AF3-A6BF-F740B527A4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216" y="1455810"/>
            <a:ext cx="11544301"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0238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798CF0-C641-4135-A462-A58F4682EC12}"/>
              </a:ext>
            </a:extLst>
          </p:cNvPr>
          <p:cNvGraphicFramePr>
            <a:graphicFrameLocks noChangeAspect="1"/>
          </p:cNvGraphicFramePr>
          <p:nvPr>
            <p:custDataLst>
              <p:tags r:id="rId1"/>
            </p:custDataLst>
            <p:extLst>
              <p:ext uri="{D42A27DB-BD31-4B8C-83A1-F6EECF244321}">
                <p14:modId xmlns:p14="http://schemas.microsoft.com/office/powerpoint/2010/main" val="782303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94798CF0-C641-4135-A462-A58F4682E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FBCE4F5-9237-43E7-9A9E-D47852245B69}"/>
              </a:ext>
            </a:extLst>
          </p:cNvPr>
          <p:cNvSpPr>
            <a:spLocks noGrp="1"/>
          </p:cNvSpPr>
          <p:nvPr>
            <p:ph type="title"/>
          </p:nvPr>
        </p:nvSpPr>
        <p:spPr>
          <a:xfrm>
            <a:off x="604352" y="177491"/>
            <a:ext cx="11190484" cy="370639"/>
          </a:xfrm>
        </p:spPr>
        <p:txBody>
          <a:bodyPr vert="horz">
            <a:noAutofit/>
          </a:bodyPr>
          <a:lstStyle/>
          <a:p>
            <a:r>
              <a:rPr lang="nl-NL" sz="3200">
                <a:latin typeface="Calibri" panose="020F0502020204030204" pitchFamily="34" charset="0"/>
                <a:cs typeface="Calibri" panose="020F0502020204030204" pitchFamily="34" charset="0"/>
              </a:rPr>
              <a:t>Verzuimontwikkeling						</a:t>
            </a:r>
            <a:endParaRPr lang="nl-NL" sz="2400" b="0" i="1">
              <a:solidFill>
                <a:srgbClr val="0070C0"/>
              </a:solidFill>
              <a:latin typeface="Calibri" panose="020F0502020204030204" pitchFamily="34" charset="0"/>
              <a:cs typeface="Calibri" panose="020F0502020204030204" pitchFamily="34" charset="0"/>
            </a:endParaRPr>
          </a:p>
        </p:txBody>
      </p:sp>
      <p:sp>
        <p:nvSpPr>
          <p:cNvPr id="7" name="Tijdelijke aanduiding voor dianummer 6">
            <a:extLst>
              <a:ext uri="{FF2B5EF4-FFF2-40B4-BE49-F238E27FC236}">
                <a16:creationId xmlns:a16="http://schemas.microsoft.com/office/drawing/2014/main" id="{19782392-C2A9-4DD1-88CA-4222ADCF2CC9}"/>
              </a:ext>
            </a:extLst>
          </p:cNvPr>
          <p:cNvSpPr>
            <a:spLocks noGrp="1"/>
          </p:cNvSpPr>
          <p:nvPr>
            <p:ph type="sldNum" sz="quarter" idx="16"/>
          </p:nvPr>
        </p:nvSpPr>
        <p:spPr>
          <a:xfrm>
            <a:off x="11573553" y="6601886"/>
            <a:ext cx="450000" cy="174228"/>
          </a:xfrm>
        </p:spPr>
        <p:txBody>
          <a:bodyPr/>
          <a:lstStyle/>
          <a:p>
            <a:fld id="{932C3248-DEA8-4406-A963-9ED55A9DA4F5}" type="slidenum">
              <a:rPr lang="nl-NL" sz="1000" smtClean="0">
                <a:latin typeface="Calibri" panose="020F0502020204030204" pitchFamily="34" charset="0"/>
                <a:cs typeface="Calibri" panose="020F0502020204030204" pitchFamily="34" charset="0"/>
              </a:rPr>
              <a:pPr/>
              <a:t>3</a:t>
            </a:fld>
            <a:endParaRPr lang="nl-NL" sz="1000">
              <a:latin typeface="Calibri" panose="020F0502020204030204" pitchFamily="34" charset="0"/>
              <a:cs typeface="Calibri" panose="020F0502020204030204" pitchFamily="34" charset="0"/>
            </a:endParaRPr>
          </a:p>
        </p:txBody>
      </p:sp>
      <p:sp>
        <p:nvSpPr>
          <p:cNvPr id="33" name="Tekstvak 32">
            <a:extLst>
              <a:ext uri="{FF2B5EF4-FFF2-40B4-BE49-F238E27FC236}">
                <a16:creationId xmlns:a16="http://schemas.microsoft.com/office/drawing/2014/main" id="{7C7017A8-F487-43D3-9057-CDDD0DA5D1CE}"/>
              </a:ext>
            </a:extLst>
          </p:cNvPr>
          <p:cNvSpPr txBox="1"/>
          <p:nvPr/>
        </p:nvSpPr>
        <p:spPr>
          <a:xfrm>
            <a:off x="525974" y="624988"/>
            <a:ext cx="6080533" cy="425501"/>
          </a:xfrm>
          <a:prstGeom prst="rect">
            <a:avLst/>
          </a:prstGeom>
          <a:noFill/>
        </p:spPr>
        <p:txBody>
          <a:bodyPr wrap="square" rtlCol="0">
            <a:spAutoFit/>
          </a:bodyPr>
          <a:lstStyle/>
          <a:p>
            <a:pPr>
              <a:lnSpc>
                <a:spcPct val="115000"/>
              </a:lnSpc>
              <a:buClr>
                <a:schemeClr val="bg2"/>
              </a:buClr>
              <a:defRPr/>
            </a:pPr>
            <a:r>
              <a:rPr lang="nl-NL" sz="2000" b="1">
                <a:latin typeface="Calibri" panose="020F0502020204030204" pitchFamily="34" charset="0"/>
                <a:cs typeface="Calibri" panose="020F0502020204030204" pitchFamily="34" charset="0"/>
              </a:rPr>
              <a:t>Verzuimverloop per maan</a:t>
            </a:r>
            <a:r>
              <a:rPr lang="nl-NL" b="1">
                <a:latin typeface="Calibri" panose="020F0502020204030204" pitchFamily="34" charset="0"/>
                <a:cs typeface="Calibri" panose="020F0502020204030204" pitchFamily="34" charset="0"/>
              </a:rPr>
              <a:t>d</a:t>
            </a:r>
            <a:endParaRPr lang="nl-NL" sz="1600">
              <a:latin typeface="Calibri" panose="020F0502020204030204" pitchFamily="34" charset="0"/>
              <a:cs typeface="Calibri" panose="020F0502020204030204" pitchFamily="34" charset="0"/>
            </a:endParaRPr>
          </a:p>
        </p:txBody>
      </p:sp>
      <p:sp>
        <p:nvSpPr>
          <p:cNvPr id="9" name="Tekstvak 8">
            <a:extLst>
              <a:ext uri="{FF2B5EF4-FFF2-40B4-BE49-F238E27FC236}">
                <a16:creationId xmlns:a16="http://schemas.microsoft.com/office/drawing/2014/main" id="{C50250A5-A381-295D-FE35-CE01FD933F81}"/>
              </a:ext>
            </a:extLst>
          </p:cNvPr>
          <p:cNvSpPr txBox="1"/>
          <p:nvPr/>
        </p:nvSpPr>
        <p:spPr>
          <a:xfrm>
            <a:off x="604352" y="3699434"/>
            <a:ext cx="6080533" cy="425501"/>
          </a:xfrm>
          <a:prstGeom prst="rect">
            <a:avLst/>
          </a:prstGeom>
          <a:noFill/>
        </p:spPr>
        <p:txBody>
          <a:bodyPr wrap="square" rtlCol="0">
            <a:spAutoFit/>
          </a:bodyPr>
          <a:lstStyle/>
          <a:p>
            <a:pPr>
              <a:lnSpc>
                <a:spcPct val="115000"/>
              </a:lnSpc>
              <a:buClr>
                <a:schemeClr val="bg2"/>
              </a:buClr>
              <a:defRPr/>
            </a:pPr>
            <a:r>
              <a:rPr lang="nl-NL" sz="2000" b="1">
                <a:latin typeface="Calibri" panose="020F0502020204030204" pitchFamily="34" charset="0"/>
                <a:cs typeface="Calibri" panose="020F0502020204030204" pitchFamily="34" charset="0"/>
              </a:rPr>
              <a:t>Verzuim % in verzuimduurklassen</a:t>
            </a:r>
          </a:p>
        </p:txBody>
      </p:sp>
      <p:graphicFrame>
        <p:nvGraphicFramePr>
          <p:cNvPr id="4" name="Tabel 4">
            <a:extLst>
              <a:ext uri="{FF2B5EF4-FFF2-40B4-BE49-F238E27FC236}">
                <a16:creationId xmlns:a16="http://schemas.microsoft.com/office/drawing/2014/main" id="{0F610F96-08AE-48A2-A253-88E06751322E}"/>
              </a:ext>
            </a:extLst>
          </p:cNvPr>
          <p:cNvGraphicFramePr>
            <a:graphicFrameLocks noGrp="1"/>
          </p:cNvGraphicFramePr>
          <p:nvPr>
            <p:extLst>
              <p:ext uri="{D42A27DB-BD31-4B8C-83A1-F6EECF244321}">
                <p14:modId xmlns:p14="http://schemas.microsoft.com/office/powerpoint/2010/main" val="3839017303"/>
              </p:ext>
            </p:extLst>
          </p:nvPr>
        </p:nvGraphicFramePr>
        <p:xfrm>
          <a:off x="6867099" y="4124934"/>
          <a:ext cx="5138322" cy="2392680"/>
        </p:xfrm>
        <a:graphic>
          <a:graphicData uri="http://schemas.openxmlformats.org/drawingml/2006/table">
            <a:tbl>
              <a:tblPr firstRow="1" bandRow="1">
                <a:tableStyleId>{5C22544A-7EE6-4342-B048-85BDC9FD1C3A}</a:tableStyleId>
              </a:tblPr>
              <a:tblGrid>
                <a:gridCol w="5138322">
                  <a:extLst>
                    <a:ext uri="{9D8B030D-6E8A-4147-A177-3AD203B41FA5}">
                      <a16:colId xmlns:a16="http://schemas.microsoft.com/office/drawing/2014/main" val="1802819060"/>
                    </a:ext>
                  </a:extLst>
                </a:gridCol>
              </a:tblGrid>
              <a:tr h="2075841">
                <a:tc>
                  <a:txBody>
                    <a:bodyPr/>
                    <a:lstStyle/>
                    <a:p>
                      <a:r>
                        <a:rPr lang="nl-NL" sz="1600" dirty="0">
                          <a:solidFill>
                            <a:schemeClr val="tx1"/>
                          </a:solidFill>
                          <a:latin typeface="Calibri" panose="020F0502020204030204" pitchFamily="34" charset="0"/>
                          <a:cs typeface="Calibri" panose="020F0502020204030204" pitchFamily="34" charset="0"/>
                        </a:rPr>
                        <a:t>Verzuimduur</a:t>
                      </a:r>
                      <a:r>
                        <a:rPr lang="nl-NL" sz="1600" b="0" dirty="0">
                          <a:solidFill>
                            <a:schemeClr val="tx1"/>
                          </a:solidFill>
                          <a:latin typeface="Calibri" panose="020F0502020204030204" pitchFamily="34" charset="0"/>
                          <a:cs typeface="Calibri" panose="020F0502020204030204" pitchFamily="34" charset="0"/>
                        </a:rPr>
                        <a:t> </a:t>
                      </a:r>
                    </a:p>
                    <a:p>
                      <a:r>
                        <a:rPr lang="nl-NL" sz="1500" b="0" dirty="0">
                          <a:solidFill>
                            <a:schemeClr val="tx1"/>
                          </a:solidFill>
                          <a:latin typeface="Calibri" panose="020F0502020204030204" pitchFamily="34" charset="0"/>
                          <a:cs typeface="Calibri" panose="020F0502020204030204" pitchFamily="34" charset="0"/>
                        </a:rPr>
                        <a:t>De verzuimduurklasse lang 43-365 dagen is met ruim 1,3% gestegen naar 3,8%. In deze klasse bevindt het traject bij de Bedrijfsarts plaats.</a:t>
                      </a:r>
                    </a:p>
                    <a:p>
                      <a:endParaRPr lang="nl-NL" sz="1500" b="0" dirty="0">
                        <a:solidFill>
                          <a:schemeClr val="tx1"/>
                        </a:solidFill>
                        <a:latin typeface="Calibri" panose="020F0502020204030204" pitchFamily="34" charset="0"/>
                        <a:cs typeface="Calibri" panose="020F0502020204030204" pitchFamily="34" charset="0"/>
                      </a:endParaRPr>
                    </a:p>
                    <a:p>
                      <a:r>
                        <a:rPr lang="nl-NL" sz="1500" b="0" dirty="0">
                          <a:solidFill>
                            <a:schemeClr val="tx1"/>
                          </a:solidFill>
                          <a:latin typeface="Calibri"/>
                          <a:cs typeface="Calibri"/>
                        </a:rPr>
                        <a:t>Daarnaast zien we dat extra lang naar 1,7% is gedaald ten opzichte van 3,1% in 2022. </a:t>
                      </a:r>
                    </a:p>
                    <a:p>
                      <a:endParaRPr lang="nl-NL" sz="1500" b="0" dirty="0">
                        <a:solidFill>
                          <a:schemeClr val="tx1"/>
                        </a:solidFill>
                        <a:latin typeface="Calibri" panose="020F0502020204030204" pitchFamily="34" charset="0"/>
                        <a:cs typeface="Calibri" panose="020F0502020204030204" pitchFamily="34" charset="0"/>
                      </a:endParaRPr>
                    </a:p>
                    <a:p>
                      <a:endParaRPr lang="nl-NL" sz="1500" b="0" dirty="0">
                        <a:solidFill>
                          <a:srgbClr val="FF0000"/>
                        </a:solidFill>
                        <a:latin typeface="Calibri" panose="020F0502020204030204" pitchFamily="34" charset="0"/>
                        <a:cs typeface="Calibri" panose="020F0502020204030204" pitchFamily="34" charset="0"/>
                      </a:endParaRPr>
                    </a:p>
                    <a:p>
                      <a:endParaRPr lang="nl-NL" sz="1500" dirty="0">
                        <a:solidFill>
                          <a:schemeClr val="tx1"/>
                        </a:solidFill>
                        <a:latin typeface="Calibri" panose="020F0502020204030204" pitchFamily="34" charset="0"/>
                        <a:cs typeface="Calibri" panose="020F0502020204030204" pitchFamily="34" charset="0"/>
                      </a:endParaRPr>
                    </a:p>
                  </a:txBody>
                  <a:tcPr>
                    <a:solidFill>
                      <a:schemeClr val="bg1">
                        <a:lumMod val="95000"/>
                      </a:schemeClr>
                    </a:solidFill>
                  </a:tcPr>
                </a:tc>
                <a:extLst>
                  <a:ext uri="{0D108BD9-81ED-4DB2-BD59-A6C34878D82A}">
                    <a16:rowId xmlns:a16="http://schemas.microsoft.com/office/drawing/2014/main" val="1611695040"/>
                  </a:ext>
                </a:extLst>
              </a:tr>
            </a:tbl>
          </a:graphicData>
        </a:graphic>
      </p:graphicFrame>
      <p:pic>
        <p:nvPicPr>
          <p:cNvPr id="12" name="Afbeelding 11">
            <a:extLst>
              <a:ext uri="{FF2B5EF4-FFF2-40B4-BE49-F238E27FC236}">
                <a16:creationId xmlns:a16="http://schemas.microsoft.com/office/drawing/2014/main" id="{FBB411C7-7E3B-DF60-BD01-1536970BC8BB}"/>
              </a:ext>
            </a:extLst>
          </p:cNvPr>
          <p:cNvPicPr>
            <a:picLocks noChangeAspect="1"/>
          </p:cNvPicPr>
          <p:nvPr/>
        </p:nvPicPr>
        <p:blipFill rotWithShape="1">
          <a:blip r:embed="rId6"/>
          <a:srcRect t="12460"/>
          <a:stretch/>
        </p:blipFill>
        <p:spPr>
          <a:xfrm>
            <a:off x="0" y="961870"/>
            <a:ext cx="12192000" cy="2709462"/>
          </a:xfrm>
          <a:prstGeom prst="rect">
            <a:avLst/>
          </a:prstGeom>
        </p:spPr>
      </p:pic>
      <p:pic>
        <p:nvPicPr>
          <p:cNvPr id="16" name="Afbeelding 15">
            <a:extLst>
              <a:ext uri="{FF2B5EF4-FFF2-40B4-BE49-F238E27FC236}">
                <a16:creationId xmlns:a16="http://schemas.microsoft.com/office/drawing/2014/main" id="{62722857-0783-B71C-1384-9CCADCEB40A5}"/>
              </a:ext>
            </a:extLst>
          </p:cNvPr>
          <p:cNvPicPr>
            <a:picLocks noChangeAspect="1"/>
          </p:cNvPicPr>
          <p:nvPr/>
        </p:nvPicPr>
        <p:blipFill rotWithShape="1">
          <a:blip r:embed="rId7"/>
          <a:srcRect t="5899"/>
          <a:stretch/>
        </p:blipFill>
        <p:spPr>
          <a:xfrm>
            <a:off x="696824" y="4085072"/>
            <a:ext cx="6077803" cy="2332129"/>
          </a:xfrm>
          <a:prstGeom prst="rect">
            <a:avLst/>
          </a:prstGeom>
        </p:spPr>
      </p:pic>
    </p:spTree>
    <p:extLst>
      <p:ext uri="{BB962C8B-B14F-4D97-AF65-F5344CB8AC3E}">
        <p14:creationId xmlns:p14="http://schemas.microsoft.com/office/powerpoint/2010/main" val="51898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798CF0-C641-4135-A462-A58F4682EC12}"/>
              </a:ext>
            </a:extLst>
          </p:cNvPr>
          <p:cNvGraphicFramePr>
            <a:graphicFrameLocks noChangeAspect="1"/>
          </p:cNvGraphicFramePr>
          <p:nvPr>
            <p:custDataLst>
              <p:tags r:id="rId1"/>
            </p:custDataLst>
            <p:extLst>
              <p:ext uri="{D42A27DB-BD31-4B8C-83A1-F6EECF244321}">
                <p14:modId xmlns:p14="http://schemas.microsoft.com/office/powerpoint/2010/main" val="169026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94798CF0-C641-4135-A462-A58F4682E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FBCE4F5-9237-43E7-9A9E-D47852245B69}"/>
              </a:ext>
            </a:extLst>
          </p:cNvPr>
          <p:cNvSpPr>
            <a:spLocks noGrp="1"/>
          </p:cNvSpPr>
          <p:nvPr>
            <p:ph type="title"/>
          </p:nvPr>
        </p:nvSpPr>
        <p:spPr>
          <a:xfrm>
            <a:off x="604352" y="201754"/>
            <a:ext cx="11190484" cy="370639"/>
          </a:xfrm>
        </p:spPr>
        <p:txBody>
          <a:bodyPr vert="horz">
            <a:noAutofit/>
          </a:bodyPr>
          <a:lstStyle/>
          <a:p>
            <a:r>
              <a:rPr lang="nl-NL" sz="3200">
                <a:latin typeface="Calibri" panose="020F0502020204030204" pitchFamily="34" charset="0"/>
                <a:cs typeface="Calibri" panose="020F0502020204030204" pitchFamily="34" charset="0"/>
              </a:rPr>
              <a:t>Verzuim en leeftijd						</a:t>
            </a:r>
            <a:endParaRPr lang="nl-NL" sz="2400" b="0" i="1">
              <a:solidFill>
                <a:srgbClr val="0070C0"/>
              </a:solidFill>
              <a:latin typeface="Calibri" panose="020F0502020204030204" pitchFamily="34" charset="0"/>
              <a:cs typeface="Calibri" panose="020F0502020204030204" pitchFamily="34" charset="0"/>
            </a:endParaRPr>
          </a:p>
        </p:txBody>
      </p:sp>
      <p:sp>
        <p:nvSpPr>
          <p:cNvPr id="7" name="Tijdelijke aanduiding voor dianummer 6">
            <a:extLst>
              <a:ext uri="{FF2B5EF4-FFF2-40B4-BE49-F238E27FC236}">
                <a16:creationId xmlns:a16="http://schemas.microsoft.com/office/drawing/2014/main" id="{19782392-C2A9-4DD1-88CA-4222ADCF2CC9}"/>
              </a:ext>
            </a:extLst>
          </p:cNvPr>
          <p:cNvSpPr>
            <a:spLocks noGrp="1"/>
          </p:cNvSpPr>
          <p:nvPr>
            <p:ph type="sldNum" sz="quarter" idx="16"/>
          </p:nvPr>
        </p:nvSpPr>
        <p:spPr>
          <a:xfrm>
            <a:off x="11573553" y="6601886"/>
            <a:ext cx="450000" cy="174228"/>
          </a:xfrm>
        </p:spPr>
        <p:txBody>
          <a:bodyPr/>
          <a:lstStyle/>
          <a:p>
            <a:fld id="{932C3248-DEA8-4406-A963-9ED55A9DA4F5}" type="slidenum">
              <a:rPr lang="nl-NL" sz="1000" smtClean="0">
                <a:latin typeface="Calibri" panose="020F0502020204030204" pitchFamily="34" charset="0"/>
                <a:cs typeface="Calibri" panose="020F0502020204030204" pitchFamily="34" charset="0"/>
              </a:rPr>
              <a:pPr/>
              <a:t>4</a:t>
            </a:fld>
            <a:endParaRPr lang="nl-NL" sz="1000">
              <a:latin typeface="Calibri" panose="020F0502020204030204" pitchFamily="34" charset="0"/>
              <a:cs typeface="Calibri" panose="020F0502020204030204" pitchFamily="34" charset="0"/>
            </a:endParaRPr>
          </a:p>
        </p:txBody>
      </p:sp>
      <p:sp>
        <p:nvSpPr>
          <p:cNvPr id="33" name="Tekstvak 32">
            <a:extLst>
              <a:ext uri="{FF2B5EF4-FFF2-40B4-BE49-F238E27FC236}">
                <a16:creationId xmlns:a16="http://schemas.microsoft.com/office/drawing/2014/main" id="{7C7017A8-F487-43D3-9057-CDDD0DA5D1CE}"/>
              </a:ext>
            </a:extLst>
          </p:cNvPr>
          <p:cNvSpPr txBox="1"/>
          <p:nvPr/>
        </p:nvSpPr>
        <p:spPr>
          <a:xfrm>
            <a:off x="604352" y="803804"/>
            <a:ext cx="3461621" cy="392159"/>
          </a:xfrm>
          <a:prstGeom prst="rect">
            <a:avLst/>
          </a:prstGeom>
          <a:noFill/>
        </p:spPr>
        <p:txBody>
          <a:bodyPr wrap="square" rtlCol="0">
            <a:spAutoFit/>
          </a:bodyPr>
          <a:lstStyle/>
          <a:p>
            <a:pPr algn="ctr">
              <a:lnSpc>
                <a:spcPct val="115000"/>
              </a:lnSpc>
              <a:buClr>
                <a:schemeClr val="bg2"/>
              </a:buClr>
              <a:defRPr/>
            </a:pPr>
            <a:r>
              <a:rPr lang="nl-NL" b="1">
                <a:latin typeface="Calibri" panose="020F0502020204030204" pitchFamily="34" charset="0"/>
                <a:cs typeface="Calibri" panose="020F0502020204030204" pitchFamily="34" charset="0"/>
              </a:rPr>
              <a:t>Zadkine </a:t>
            </a:r>
            <a:r>
              <a:rPr lang="nl-NL">
                <a:latin typeface="Calibri" panose="020F0502020204030204" pitchFamily="34" charset="0"/>
                <a:cs typeface="Calibri" panose="020F0502020204030204" pitchFamily="34" charset="0"/>
              </a:rPr>
              <a:t>- verzuim %</a:t>
            </a:r>
            <a:endParaRPr lang="nl-NL" sz="1600">
              <a:latin typeface="Calibri" panose="020F0502020204030204" pitchFamily="34" charset="0"/>
              <a:cs typeface="Calibri" panose="020F0502020204030204" pitchFamily="34" charset="0"/>
            </a:endParaRPr>
          </a:p>
        </p:txBody>
      </p:sp>
      <p:sp>
        <p:nvSpPr>
          <p:cNvPr id="22" name="Tekstvak 21">
            <a:extLst>
              <a:ext uri="{FF2B5EF4-FFF2-40B4-BE49-F238E27FC236}">
                <a16:creationId xmlns:a16="http://schemas.microsoft.com/office/drawing/2014/main" id="{614153F3-2D2E-4B99-98CD-4277FC5AD56A}"/>
              </a:ext>
            </a:extLst>
          </p:cNvPr>
          <p:cNvSpPr txBox="1"/>
          <p:nvPr/>
        </p:nvSpPr>
        <p:spPr>
          <a:xfrm>
            <a:off x="4468782" y="830385"/>
            <a:ext cx="3461621" cy="392159"/>
          </a:xfrm>
          <a:prstGeom prst="rect">
            <a:avLst/>
          </a:prstGeom>
          <a:noFill/>
        </p:spPr>
        <p:txBody>
          <a:bodyPr wrap="square" rtlCol="0">
            <a:spAutoFit/>
          </a:bodyPr>
          <a:lstStyle/>
          <a:p>
            <a:pPr algn="ctr">
              <a:lnSpc>
                <a:spcPct val="115000"/>
              </a:lnSpc>
              <a:buClr>
                <a:schemeClr val="bg2"/>
              </a:buClr>
              <a:defRPr/>
            </a:pPr>
            <a:r>
              <a:rPr lang="nl-NL" b="1">
                <a:latin typeface="Calibri" panose="020F0502020204030204" pitchFamily="34" charset="0"/>
                <a:cs typeface="Calibri" panose="020F0502020204030204" pitchFamily="34" charset="0"/>
              </a:rPr>
              <a:t>Onderwijs </a:t>
            </a:r>
            <a:r>
              <a:rPr lang="nl-NL">
                <a:latin typeface="Calibri" panose="020F0502020204030204" pitchFamily="34" charset="0"/>
                <a:cs typeface="Calibri" panose="020F0502020204030204" pitchFamily="34" charset="0"/>
              </a:rPr>
              <a:t>- verzuim %</a:t>
            </a:r>
            <a:endParaRPr lang="nl-NL" sz="1600">
              <a:latin typeface="Calibri" panose="020F0502020204030204" pitchFamily="34" charset="0"/>
              <a:cs typeface="Calibri" panose="020F0502020204030204" pitchFamily="34" charset="0"/>
            </a:endParaRPr>
          </a:p>
        </p:txBody>
      </p:sp>
      <p:sp>
        <p:nvSpPr>
          <p:cNvPr id="23" name="Tekstvak 22">
            <a:extLst>
              <a:ext uri="{FF2B5EF4-FFF2-40B4-BE49-F238E27FC236}">
                <a16:creationId xmlns:a16="http://schemas.microsoft.com/office/drawing/2014/main" id="{7536C675-7ABC-474B-9ED6-B50A99353DD5}"/>
              </a:ext>
            </a:extLst>
          </p:cNvPr>
          <p:cNvSpPr txBox="1"/>
          <p:nvPr/>
        </p:nvSpPr>
        <p:spPr>
          <a:xfrm>
            <a:off x="8333214" y="830384"/>
            <a:ext cx="3461621" cy="392159"/>
          </a:xfrm>
          <a:prstGeom prst="rect">
            <a:avLst/>
          </a:prstGeom>
          <a:noFill/>
        </p:spPr>
        <p:txBody>
          <a:bodyPr wrap="square" rtlCol="0">
            <a:spAutoFit/>
          </a:bodyPr>
          <a:lstStyle/>
          <a:p>
            <a:pPr algn="ctr">
              <a:lnSpc>
                <a:spcPct val="115000"/>
              </a:lnSpc>
              <a:buClr>
                <a:schemeClr val="bg2"/>
              </a:buClr>
              <a:defRPr/>
            </a:pPr>
            <a:r>
              <a:rPr lang="nl-NL" b="1">
                <a:latin typeface="Calibri" panose="020F0502020204030204" pitchFamily="34" charset="0"/>
                <a:cs typeface="Calibri" panose="020F0502020204030204" pitchFamily="34" charset="0"/>
              </a:rPr>
              <a:t>Diensten </a:t>
            </a:r>
            <a:r>
              <a:rPr lang="nl-NL">
                <a:latin typeface="Calibri" panose="020F0502020204030204" pitchFamily="34" charset="0"/>
                <a:cs typeface="Calibri" panose="020F0502020204030204" pitchFamily="34" charset="0"/>
              </a:rPr>
              <a:t>- verzuim %</a:t>
            </a:r>
            <a:endParaRPr lang="nl-NL" sz="1600">
              <a:latin typeface="Calibri" panose="020F0502020204030204" pitchFamily="34" charset="0"/>
              <a:cs typeface="Calibri" panose="020F0502020204030204" pitchFamily="34" charset="0"/>
            </a:endParaRPr>
          </a:p>
        </p:txBody>
      </p:sp>
      <p:graphicFrame>
        <p:nvGraphicFramePr>
          <p:cNvPr id="4" name="Tabel 4">
            <a:extLst>
              <a:ext uri="{FF2B5EF4-FFF2-40B4-BE49-F238E27FC236}">
                <a16:creationId xmlns:a16="http://schemas.microsoft.com/office/drawing/2014/main" id="{9E287BCA-2230-495B-AB95-C3ED7767CC4C}"/>
              </a:ext>
            </a:extLst>
          </p:cNvPr>
          <p:cNvGraphicFramePr>
            <a:graphicFrameLocks noGrp="1"/>
          </p:cNvGraphicFramePr>
          <p:nvPr>
            <p:extLst>
              <p:ext uri="{D42A27DB-BD31-4B8C-83A1-F6EECF244321}">
                <p14:modId xmlns:p14="http://schemas.microsoft.com/office/powerpoint/2010/main" val="1280430997"/>
              </p:ext>
            </p:extLst>
          </p:nvPr>
        </p:nvGraphicFramePr>
        <p:xfrm>
          <a:off x="510829" y="5732471"/>
          <a:ext cx="10848356" cy="538284"/>
        </p:xfrm>
        <a:graphic>
          <a:graphicData uri="http://schemas.openxmlformats.org/drawingml/2006/table">
            <a:tbl>
              <a:tblPr firstRow="1" bandRow="1">
                <a:tableStyleId>{5C22544A-7EE6-4342-B048-85BDC9FD1C3A}</a:tableStyleId>
              </a:tblPr>
              <a:tblGrid>
                <a:gridCol w="10848356">
                  <a:extLst>
                    <a:ext uri="{9D8B030D-6E8A-4147-A177-3AD203B41FA5}">
                      <a16:colId xmlns:a16="http://schemas.microsoft.com/office/drawing/2014/main" val="3451245842"/>
                    </a:ext>
                  </a:extLst>
                </a:gridCol>
              </a:tblGrid>
              <a:tr h="538284">
                <a:tc>
                  <a:txBody>
                    <a:bodyPr/>
                    <a:lstStyle/>
                    <a:p>
                      <a:r>
                        <a:rPr lang="nl-NL" sz="1400" b="0" dirty="0">
                          <a:solidFill>
                            <a:srgbClr val="000000"/>
                          </a:solidFill>
                          <a:latin typeface="Calibri"/>
                          <a:cs typeface="Calibri"/>
                        </a:rPr>
                        <a:t>De verzuimcijfers blijven hoog in de leeftijdscategorie boven de 50&gt;. We zien daarentegen wel dat dat het verzuimcijfer Zadkine breed is gedaald boven de 60&gt;. De stijging bij de diensten in de leeftijdscategorie 30 t/m 34 is met 2,4% gestegen naar 8,8%.</a:t>
                      </a:r>
                    </a:p>
                  </a:txBody>
                  <a:tcPr>
                    <a:solidFill>
                      <a:schemeClr val="bg1">
                        <a:lumMod val="95000"/>
                      </a:schemeClr>
                    </a:solidFill>
                  </a:tcPr>
                </a:tc>
                <a:extLst>
                  <a:ext uri="{0D108BD9-81ED-4DB2-BD59-A6C34878D82A}">
                    <a16:rowId xmlns:a16="http://schemas.microsoft.com/office/drawing/2014/main" val="555738626"/>
                  </a:ext>
                </a:extLst>
              </a:tr>
            </a:tbl>
          </a:graphicData>
        </a:graphic>
      </p:graphicFrame>
      <p:graphicFrame>
        <p:nvGraphicFramePr>
          <p:cNvPr id="5" name="Tabel 4">
            <a:extLst>
              <a:ext uri="{FF2B5EF4-FFF2-40B4-BE49-F238E27FC236}">
                <a16:creationId xmlns:a16="http://schemas.microsoft.com/office/drawing/2014/main" id="{11FDBFA8-69A4-7394-FEC4-9B98E81F8FAE}"/>
              </a:ext>
            </a:extLst>
          </p:cNvPr>
          <p:cNvGraphicFramePr>
            <a:graphicFrameLocks noGrp="1"/>
          </p:cNvGraphicFramePr>
          <p:nvPr>
            <p:extLst>
              <p:ext uri="{D42A27DB-BD31-4B8C-83A1-F6EECF244321}">
                <p14:modId xmlns:p14="http://schemas.microsoft.com/office/powerpoint/2010/main" val="74807374"/>
              </p:ext>
            </p:extLst>
          </p:nvPr>
        </p:nvGraphicFramePr>
        <p:xfrm>
          <a:off x="510829" y="1226905"/>
          <a:ext cx="3228963" cy="4402284"/>
        </p:xfrm>
        <a:graphic>
          <a:graphicData uri="http://schemas.openxmlformats.org/drawingml/2006/table">
            <a:tbl>
              <a:tblPr/>
              <a:tblGrid>
                <a:gridCol w="1129280">
                  <a:extLst>
                    <a:ext uri="{9D8B030D-6E8A-4147-A177-3AD203B41FA5}">
                      <a16:colId xmlns:a16="http://schemas.microsoft.com/office/drawing/2014/main" val="3983884082"/>
                    </a:ext>
                  </a:extLst>
                </a:gridCol>
                <a:gridCol w="532527">
                  <a:extLst>
                    <a:ext uri="{9D8B030D-6E8A-4147-A177-3AD203B41FA5}">
                      <a16:colId xmlns:a16="http://schemas.microsoft.com/office/drawing/2014/main" val="3109488859"/>
                    </a:ext>
                  </a:extLst>
                </a:gridCol>
                <a:gridCol w="511445">
                  <a:extLst>
                    <a:ext uri="{9D8B030D-6E8A-4147-A177-3AD203B41FA5}">
                      <a16:colId xmlns:a16="http://schemas.microsoft.com/office/drawing/2014/main" val="954808611"/>
                    </a:ext>
                  </a:extLst>
                </a:gridCol>
                <a:gridCol w="596685">
                  <a:extLst>
                    <a:ext uri="{9D8B030D-6E8A-4147-A177-3AD203B41FA5}">
                      <a16:colId xmlns:a16="http://schemas.microsoft.com/office/drawing/2014/main" val="493084955"/>
                    </a:ext>
                  </a:extLst>
                </a:gridCol>
                <a:gridCol w="459026">
                  <a:extLst>
                    <a:ext uri="{9D8B030D-6E8A-4147-A177-3AD203B41FA5}">
                      <a16:colId xmlns:a16="http://schemas.microsoft.com/office/drawing/2014/main" val="3893219979"/>
                    </a:ext>
                  </a:extLst>
                </a:gridCol>
              </a:tblGrid>
              <a:tr h="792633">
                <a:tc>
                  <a:txBody>
                    <a:bodyPr/>
                    <a:lstStyle/>
                    <a:p>
                      <a:pPr algn="l" fontAlgn="auto"/>
                      <a:r>
                        <a:rPr lang="nl-NL" sz="1000" b="1" i="0" u="none" strike="noStrike">
                          <a:solidFill>
                            <a:srgbClr val="FFFFFF"/>
                          </a:solidFill>
                          <a:effectLst/>
                          <a:latin typeface="Calibri" panose="020F0502020204030204" pitchFamily="34" charset="0"/>
                        </a:rPr>
                        <a:t>​</a:t>
                      </a:r>
                    </a:p>
                    <a:p>
                      <a:pPr algn="l" fontAlgn="base"/>
                      <a:r>
                        <a:rPr lang="nl-NL" sz="1000" b="1" i="0" u="none" strike="noStrike">
                          <a:solidFill>
                            <a:srgbClr val="FFFFFF"/>
                          </a:solidFill>
                          <a:effectLst/>
                          <a:latin typeface="Calibri" panose="020F0502020204030204" pitchFamily="34" charset="0"/>
                        </a:rPr>
                        <a:t>Leeftijdscategorie</a:t>
                      </a:r>
                      <a:r>
                        <a:rPr lang="nl-NL" sz="1000" b="1" i="0">
                          <a:solidFill>
                            <a:srgbClr val="FFFFFF"/>
                          </a:solidFill>
                          <a:effectLst/>
                          <a:latin typeface="Calibri" panose="020F0502020204030204" pitchFamily="34" charset="0"/>
                        </a:rPr>
                        <a:t>​</a:t>
                      </a:r>
                      <a:endParaRPr lang="nl-NL" sz="10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1000" b="1" i="0" u="none" strike="noStrike">
                          <a:solidFill>
                            <a:srgbClr val="FFFFFF"/>
                          </a:solidFill>
                          <a:effectLst/>
                          <a:latin typeface="Calibri" panose="020F0502020204030204" pitchFamily="34" charset="0"/>
                        </a:rPr>
                        <a:t>​</a:t>
                      </a:r>
                    </a:p>
                    <a:p>
                      <a:pPr algn="r" fontAlgn="base"/>
                      <a:r>
                        <a:rPr lang="nl-NL" sz="1000" b="1" i="0" u="none" strike="noStrike">
                          <a:solidFill>
                            <a:srgbClr val="FFFFFF"/>
                          </a:solidFill>
                          <a:effectLst/>
                          <a:latin typeface="Calibri" panose="020F0502020204030204" pitchFamily="34" charset="0"/>
                        </a:rPr>
                        <a:t>2020</a:t>
                      </a:r>
                      <a:r>
                        <a:rPr lang="nl-NL" sz="1000" b="1" i="0">
                          <a:solidFill>
                            <a:srgbClr val="FFFFFF"/>
                          </a:solidFill>
                          <a:effectLst/>
                          <a:latin typeface="Calibri" panose="020F0502020204030204" pitchFamily="34" charset="0"/>
                        </a:rPr>
                        <a:t>​</a:t>
                      </a:r>
                      <a:endParaRPr lang="nl-NL" sz="10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base"/>
                      <a:r>
                        <a:rPr lang="nl-NL" sz="1000" b="1" i="0" u="none" strike="noStrike">
                          <a:solidFill>
                            <a:srgbClr val="FFFFFF"/>
                          </a:solidFill>
                          <a:effectLst/>
                          <a:latin typeface="Calibri" panose="020F0502020204030204" pitchFamily="34" charset="0"/>
                        </a:rPr>
                        <a:t>2021</a:t>
                      </a:r>
                      <a:r>
                        <a:rPr lang="nl-NL" sz="1000" b="1" i="0">
                          <a:solidFill>
                            <a:srgbClr val="FFFFFF"/>
                          </a:solidFill>
                          <a:effectLst/>
                          <a:latin typeface="Calibri" panose="020F0502020204030204" pitchFamily="34" charset="0"/>
                        </a:rPr>
                        <a:t>​</a:t>
                      </a:r>
                      <a:endParaRPr lang="nl-NL" sz="1000" b="1" i="0">
                        <a:solidFill>
                          <a:srgbClr val="FFFFFF"/>
                        </a:solidFill>
                        <a:effectLst/>
                      </a:endParaRPr>
                    </a:p>
                    <a:p>
                      <a:pPr algn="r" fontAlgn="base"/>
                      <a:r>
                        <a:rPr lang="nl-NL" sz="1000" b="1" i="0">
                          <a:solidFill>
                            <a:srgbClr val="FFFFFF"/>
                          </a:solidFill>
                          <a:effectLst/>
                          <a:latin typeface="Calibri" panose="020F0502020204030204" pitchFamily="34" charset="0"/>
                        </a:rPr>
                        <a:t>​</a:t>
                      </a:r>
                      <a:endParaRPr lang="nl-NL" sz="1000" b="1" i="0">
                        <a:solidFill>
                          <a:srgbClr val="FFFFFF"/>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base"/>
                      <a:r>
                        <a:rPr lang="nl-NL" sz="1000" b="1" i="0" u="none" strike="noStrike">
                          <a:solidFill>
                            <a:srgbClr val="FFFFFF"/>
                          </a:solidFill>
                          <a:effectLst/>
                          <a:latin typeface="Calibri" panose="020F0502020204030204" pitchFamily="34" charset="0"/>
                        </a:rPr>
                        <a:t>2022</a:t>
                      </a:r>
                      <a:r>
                        <a:rPr lang="nl-NL" sz="1000" b="1" i="0">
                          <a:solidFill>
                            <a:srgbClr val="FFFFFF"/>
                          </a:solidFill>
                          <a:effectLst/>
                          <a:latin typeface="Calibri" panose="020F0502020204030204" pitchFamily="34" charset="0"/>
                        </a:rPr>
                        <a:t>​</a:t>
                      </a:r>
                      <a:br>
                        <a:rPr lang="nl-NL" sz="1000" b="1" i="0">
                          <a:solidFill>
                            <a:srgbClr val="FFFFFF"/>
                          </a:solidFill>
                          <a:effectLst/>
                          <a:latin typeface="Calibri" panose="020F0502020204030204" pitchFamily="34" charset="0"/>
                        </a:rPr>
                      </a:br>
                      <a:r>
                        <a:rPr lang="nl-NL" sz="1000" b="1" i="0">
                          <a:solidFill>
                            <a:srgbClr val="FFFFFF"/>
                          </a:solidFill>
                          <a:effectLst/>
                          <a:latin typeface="Calibri" panose="020F0502020204030204" pitchFamily="34" charset="0"/>
                        </a:rPr>
                        <a:t>​</a:t>
                      </a:r>
                      <a:endParaRPr lang="nl-NL" sz="1000" b="1" i="0">
                        <a:solidFill>
                          <a:srgbClr val="FFFFFF"/>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1000" b="1" i="0" u="none" strike="noStrike">
                          <a:solidFill>
                            <a:srgbClr val="333333"/>
                          </a:solidFill>
                          <a:effectLst/>
                          <a:latin typeface="Calibri" panose="020F0502020204030204" pitchFamily="34" charset="0"/>
                        </a:rPr>
                        <a:t>​</a:t>
                      </a:r>
                    </a:p>
                    <a:p>
                      <a:pPr algn="r" fontAlgn="base"/>
                      <a:r>
                        <a:rPr lang="nl-NL" sz="1000" b="1" i="0" u="none" strike="noStrike">
                          <a:solidFill>
                            <a:srgbClr val="333333"/>
                          </a:solidFill>
                          <a:effectLst/>
                          <a:latin typeface="Calibri" panose="020F0502020204030204" pitchFamily="34" charset="0"/>
                        </a:rPr>
                        <a:t>2023</a:t>
                      </a:r>
                      <a:r>
                        <a:rPr lang="nl-NL" sz="1000" b="1" i="0">
                          <a:solidFill>
                            <a:srgbClr val="333333"/>
                          </a:solidFill>
                          <a:effectLst/>
                          <a:latin typeface="Calibri" panose="020F0502020204030204" pitchFamily="34" charset="0"/>
                        </a:rPr>
                        <a:t>​</a:t>
                      </a:r>
                      <a:endParaRPr lang="nl-NL" sz="1000" b="1" i="0">
                        <a:solidFill>
                          <a:srgbClr val="FFFFFF"/>
                        </a:solidFill>
                        <a:effectLst/>
                      </a:endParaRPr>
                    </a:p>
                    <a:p>
                      <a:pPr algn="r" fontAlgn="base"/>
                      <a:r>
                        <a:rPr lang="nl-NL" sz="1000" b="1" i="0">
                          <a:solidFill>
                            <a:srgbClr val="333333"/>
                          </a:solidFill>
                          <a:effectLst/>
                          <a:latin typeface="Calibri" panose="020F0502020204030204" pitchFamily="34" charset="0"/>
                        </a:rPr>
                        <a:t>​</a:t>
                      </a:r>
                      <a:endParaRPr lang="nl-NL" sz="1000" b="1" i="0">
                        <a:solidFill>
                          <a:srgbClr val="FFFFFF"/>
                        </a:solidFill>
                        <a:effectLst/>
                      </a:endParaRPr>
                    </a:p>
                    <a:p>
                      <a:pPr algn="r" fontAlgn="base"/>
                      <a:r>
                        <a:rPr lang="nl-NL" sz="1000" b="1" i="0">
                          <a:solidFill>
                            <a:srgbClr val="333333"/>
                          </a:solidFill>
                          <a:effectLst/>
                          <a:latin typeface="Calibri" panose="020F0502020204030204" pitchFamily="34" charset="0"/>
                        </a:rPr>
                        <a:t>​</a:t>
                      </a:r>
                      <a:endParaRPr lang="nl-NL" sz="10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ED100"/>
                    </a:solidFill>
                  </a:tcPr>
                </a:tc>
                <a:extLst>
                  <a:ext uri="{0D108BD9-81ED-4DB2-BD59-A6C34878D82A}">
                    <a16:rowId xmlns:a16="http://schemas.microsoft.com/office/drawing/2014/main" val="4025058934"/>
                  </a:ext>
                </a:extLst>
              </a:tr>
              <a:tr h="323182">
                <a:tc>
                  <a:txBody>
                    <a:bodyPr/>
                    <a:lstStyle/>
                    <a:p>
                      <a:pPr algn="l" fontAlgn="base"/>
                      <a:r>
                        <a:rPr lang="nl-NL" sz="1000" b="0" i="0" u="none" strike="noStrike">
                          <a:solidFill>
                            <a:srgbClr val="000000"/>
                          </a:solidFill>
                          <a:effectLst/>
                          <a:latin typeface="Calibri" panose="020F0502020204030204" pitchFamily="34" charset="0"/>
                        </a:rPr>
                        <a:t>15 t/m 2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1%</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2,3%</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0,7%</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12239242"/>
                  </a:ext>
                </a:extLst>
              </a:tr>
              <a:tr h="323182">
                <a:tc>
                  <a:txBody>
                    <a:bodyPr/>
                    <a:lstStyle/>
                    <a:p>
                      <a:pPr algn="l" fontAlgn="base"/>
                      <a:r>
                        <a:rPr lang="nl-NL" sz="1000" b="0" i="0" u="none" strike="noStrike">
                          <a:solidFill>
                            <a:srgbClr val="000000"/>
                          </a:solidFill>
                          <a:effectLst/>
                          <a:latin typeface="Calibri" panose="020F0502020204030204" pitchFamily="34" charset="0"/>
                        </a:rPr>
                        <a:t>25 t/m 2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2,6%</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4,3%</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6%</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4,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149621542"/>
                  </a:ext>
                </a:extLst>
              </a:tr>
              <a:tr h="323182">
                <a:tc>
                  <a:txBody>
                    <a:bodyPr/>
                    <a:lstStyle/>
                    <a:p>
                      <a:pPr algn="l" fontAlgn="base"/>
                      <a:r>
                        <a:rPr lang="nl-NL" sz="1000" b="0" i="0" u="none" strike="noStrike">
                          <a:solidFill>
                            <a:srgbClr val="000000"/>
                          </a:solidFill>
                          <a:effectLst/>
                          <a:latin typeface="Calibri" panose="020F0502020204030204" pitchFamily="34" charset="0"/>
                        </a:rPr>
                        <a:t>30 t/m 3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4,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1%</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7,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FF0000"/>
                          </a:solidFill>
                          <a:effectLst/>
                          <a:latin typeface="Calibri" panose="020F0502020204030204" pitchFamily="34" charset="0"/>
                        </a:rPr>
                        <a:t>6,5%</a:t>
                      </a:r>
                      <a:r>
                        <a:rPr lang="nl-NL" sz="1000" b="0" i="0">
                          <a:solidFill>
                            <a:srgbClr val="FF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8348854"/>
                  </a:ext>
                </a:extLst>
              </a:tr>
              <a:tr h="323182">
                <a:tc>
                  <a:txBody>
                    <a:bodyPr/>
                    <a:lstStyle/>
                    <a:p>
                      <a:pPr algn="l" fontAlgn="base"/>
                      <a:r>
                        <a:rPr lang="nl-NL" sz="1000" b="0" i="0" u="none" strike="noStrike">
                          <a:solidFill>
                            <a:srgbClr val="000000"/>
                          </a:solidFill>
                          <a:effectLst/>
                          <a:latin typeface="Calibri" panose="020F0502020204030204" pitchFamily="34" charset="0"/>
                        </a:rPr>
                        <a:t>35 t/m 3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8%</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2%</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3%</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7%</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50078487"/>
                  </a:ext>
                </a:extLst>
              </a:tr>
              <a:tr h="323182">
                <a:tc>
                  <a:txBody>
                    <a:bodyPr/>
                    <a:lstStyle/>
                    <a:p>
                      <a:pPr algn="l" fontAlgn="base"/>
                      <a:r>
                        <a:rPr lang="nl-NL" sz="1000" b="0" i="0" u="none" strike="noStrike">
                          <a:solidFill>
                            <a:srgbClr val="000000"/>
                          </a:solidFill>
                          <a:effectLst/>
                          <a:latin typeface="Calibri" panose="020F0502020204030204" pitchFamily="34" charset="0"/>
                        </a:rPr>
                        <a:t>40 t/m 4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8,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2%</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7%</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4,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587427165"/>
                  </a:ext>
                </a:extLst>
              </a:tr>
              <a:tr h="323182">
                <a:tc>
                  <a:txBody>
                    <a:bodyPr/>
                    <a:lstStyle/>
                    <a:p>
                      <a:pPr algn="l" fontAlgn="base"/>
                      <a:r>
                        <a:rPr lang="nl-NL" sz="1000" b="0" i="0" u="none" strike="noStrike">
                          <a:solidFill>
                            <a:srgbClr val="000000"/>
                          </a:solidFill>
                          <a:effectLst/>
                          <a:latin typeface="Calibri" panose="020F0502020204030204" pitchFamily="34" charset="0"/>
                        </a:rPr>
                        <a:t>45 t/m 4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7,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7%</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4,1%</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954890654"/>
                  </a:ext>
                </a:extLst>
              </a:tr>
              <a:tr h="323182">
                <a:tc>
                  <a:txBody>
                    <a:bodyPr/>
                    <a:lstStyle/>
                    <a:p>
                      <a:pPr algn="l" fontAlgn="base"/>
                      <a:r>
                        <a:rPr lang="nl-NL" sz="1000" b="0" i="0" u="none" strike="noStrike">
                          <a:solidFill>
                            <a:srgbClr val="000000"/>
                          </a:solidFill>
                          <a:effectLst/>
                          <a:latin typeface="Calibri" panose="020F0502020204030204" pitchFamily="34" charset="0"/>
                        </a:rPr>
                        <a:t>50 t/m 5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5,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7,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FF0000"/>
                          </a:solidFill>
                          <a:effectLst/>
                          <a:latin typeface="Calibri" panose="020F0502020204030204" pitchFamily="34" charset="0"/>
                        </a:rPr>
                        <a:t>9,1%</a:t>
                      </a:r>
                      <a:r>
                        <a:rPr lang="nl-NL" sz="1000" b="0" i="0">
                          <a:solidFill>
                            <a:srgbClr val="FF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31678989"/>
                  </a:ext>
                </a:extLst>
              </a:tr>
              <a:tr h="323182">
                <a:tc>
                  <a:txBody>
                    <a:bodyPr/>
                    <a:lstStyle/>
                    <a:p>
                      <a:pPr algn="l" fontAlgn="base"/>
                      <a:r>
                        <a:rPr lang="nl-NL" sz="1000" b="0" i="0" u="none" strike="noStrike">
                          <a:solidFill>
                            <a:srgbClr val="000000"/>
                          </a:solidFill>
                          <a:effectLst/>
                          <a:latin typeface="Calibri" panose="020F0502020204030204" pitchFamily="34" charset="0"/>
                        </a:rPr>
                        <a:t>55 t/m 5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6,9%</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8,3%</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7,2%</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FF0000"/>
                          </a:solidFill>
                          <a:effectLst/>
                          <a:latin typeface="Calibri" panose="020F0502020204030204" pitchFamily="34" charset="0"/>
                        </a:rPr>
                        <a:t>8,6%</a:t>
                      </a:r>
                      <a:r>
                        <a:rPr lang="nl-NL" sz="1000" b="0" i="0">
                          <a:solidFill>
                            <a:srgbClr val="FF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73858219"/>
                  </a:ext>
                </a:extLst>
              </a:tr>
              <a:tr h="323182">
                <a:tc>
                  <a:txBody>
                    <a:bodyPr/>
                    <a:lstStyle/>
                    <a:p>
                      <a:pPr algn="l" fontAlgn="base"/>
                      <a:r>
                        <a:rPr lang="nl-NL" sz="1000" b="0" i="0" u="none" strike="noStrike">
                          <a:solidFill>
                            <a:srgbClr val="000000"/>
                          </a:solidFill>
                          <a:effectLst/>
                          <a:latin typeface="Calibri" panose="020F0502020204030204" pitchFamily="34" charset="0"/>
                        </a:rPr>
                        <a:t>60 t/m 6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8,1%</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0,2%</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0,7%</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FF0000"/>
                          </a:solidFill>
                          <a:effectLst/>
                          <a:latin typeface="Calibri" panose="020F0502020204030204" pitchFamily="34" charset="0"/>
                        </a:rPr>
                        <a:t>9,5%</a:t>
                      </a:r>
                      <a:r>
                        <a:rPr lang="nl-NL" sz="1000" b="0" i="0">
                          <a:solidFill>
                            <a:srgbClr val="FF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917312748"/>
                  </a:ext>
                </a:extLst>
              </a:tr>
              <a:tr h="377831">
                <a:tc>
                  <a:txBody>
                    <a:bodyPr/>
                    <a:lstStyle/>
                    <a:p>
                      <a:pPr algn="l" fontAlgn="base"/>
                      <a:r>
                        <a:rPr lang="nl-NL" sz="1000" b="0" i="0" u="none" strike="noStrike">
                          <a:solidFill>
                            <a:srgbClr val="000000"/>
                          </a:solidFill>
                          <a:effectLst/>
                          <a:latin typeface="Calibri" panose="020F0502020204030204" pitchFamily="34" charset="0"/>
                        </a:rPr>
                        <a:t>&gt;6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0,8%</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4,3%</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000000"/>
                          </a:solidFill>
                          <a:effectLst/>
                          <a:latin typeface="Calibri" panose="020F0502020204030204" pitchFamily="34" charset="0"/>
                        </a:rPr>
                        <a:t>18,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1000" b="0" i="0" u="none" strike="noStrike">
                          <a:solidFill>
                            <a:srgbClr val="FF0000"/>
                          </a:solidFill>
                          <a:effectLst/>
                          <a:latin typeface="Calibri" panose="020F0502020204030204" pitchFamily="34" charset="0"/>
                        </a:rPr>
                        <a:t>11,2%</a:t>
                      </a:r>
                      <a:r>
                        <a:rPr lang="nl-NL" sz="1000" b="0" i="0">
                          <a:solidFill>
                            <a:srgbClr val="FF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632135234"/>
                  </a:ext>
                </a:extLst>
              </a:tr>
              <a:tr h="323182">
                <a:tc>
                  <a:txBody>
                    <a:bodyPr/>
                    <a:lstStyle/>
                    <a:p>
                      <a:pPr algn="l" fontAlgn="base"/>
                      <a:r>
                        <a:rPr lang="nl-NL" sz="1000" b="1" i="0" u="none" strike="noStrike">
                          <a:solidFill>
                            <a:srgbClr val="000000"/>
                          </a:solidFill>
                          <a:effectLst/>
                          <a:latin typeface="Calibri" panose="020F0502020204030204" pitchFamily="34" charset="0"/>
                        </a:rPr>
                        <a:t>Zadkine</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1000" b="1" i="0" u="none" strike="noStrike">
                          <a:solidFill>
                            <a:srgbClr val="000000"/>
                          </a:solidFill>
                          <a:effectLst/>
                          <a:latin typeface="Calibri" panose="020F0502020204030204" pitchFamily="34" charset="0"/>
                        </a:rPr>
                        <a:t>6,4%</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1000" b="1" i="0" u="none" strike="noStrike">
                          <a:solidFill>
                            <a:srgbClr val="000000"/>
                          </a:solidFill>
                          <a:effectLst/>
                          <a:latin typeface="Calibri" panose="020F0502020204030204" pitchFamily="34" charset="0"/>
                        </a:rPr>
                        <a:t>7,1%</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1000" b="1" i="0" u="none" strike="noStrike">
                          <a:solidFill>
                            <a:srgbClr val="000000"/>
                          </a:solidFill>
                          <a:effectLst/>
                          <a:latin typeface="Calibri" panose="020F0502020204030204" pitchFamily="34" charset="0"/>
                        </a:rPr>
                        <a:t>7,6%</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1000" b="1" i="0" u="none" strike="noStrike">
                          <a:solidFill>
                            <a:srgbClr val="000000"/>
                          </a:solidFill>
                          <a:effectLst/>
                          <a:latin typeface="Calibri" panose="020F0502020204030204" pitchFamily="34" charset="0"/>
                        </a:rPr>
                        <a:t>7,0%</a:t>
                      </a:r>
                      <a:r>
                        <a:rPr lang="nl-NL" sz="1000" b="0" i="0">
                          <a:solidFill>
                            <a:srgbClr val="000000"/>
                          </a:solidFill>
                          <a:effectLst/>
                          <a:latin typeface="Calibri" panose="020F0502020204030204" pitchFamily="34" charset="0"/>
                        </a:rPr>
                        <a:t>​</a:t>
                      </a:r>
                      <a:endParaRPr lang="nl-NL" sz="10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3422418460"/>
                  </a:ext>
                </a:extLst>
              </a:tr>
            </a:tbl>
          </a:graphicData>
        </a:graphic>
      </p:graphicFrame>
      <p:sp>
        <p:nvSpPr>
          <p:cNvPr id="6" name="Rectangle 1">
            <a:extLst>
              <a:ext uri="{FF2B5EF4-FFF2-40B4-BE49-F238E27FC236}">
                <a16:creationId xmlns:a16="http://schemas.microsoft.com/office/drawing/2014/main" id="{2E3D7EB3-A35B-C53E-66FA-1E3C0F1E5174}"/>
              </a:ext>
            </a:extLst>
          </p:cNvPr>
          <p:cNvSpPr>
            <a:spLocks noChangeArrowheads="1"/>
          </p:cNvSpPr>
          <p:nvPr/>
        </p:nvSpPr>
        <p:spPr bwMode="auto">
          <a:xfrm>
            <a:off x="4905375" y="20018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NL" altLang="nl-N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nl-NL" altLang="nl-N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a:ln>
                <a:noFill/>
              </a:ln>
              <a:solidFill>
                <a:schemeClr val="tx1"/>
              </a:solidFill>
              <a:effectLst/>
              <a:latin typeface="Arial" panose="020B0604020202020204" pitchFamily="34" charset="0"/>
            </a:endParaRPr>
          </a:p>
        </p:txBody>
      </p:sp>
      <p:graphicFrame>
        <p:nvGraphicFramePr>
          <p:cNvPr id="8" name="Tabel 7">
            <a:extLst>
              <a:ext uri="{FF2B5EF4-FFF2-40B4-BE49-F238E27FC236}">
                <a16:creationId xmlns:a16="http://schemas.microsoft.com/office/drawing/2014/main" id="{3CE971C2-CE1A-17EA-E9A6-DECBB345B1EF}"/>
              </a:ext>
            </a:extLst>
          </p:cNvPr>
          <p:cNvGraphicFramePr>
            <a:graphicFrameLocks noGrp="1"/>
          </p:cNvGraphicFramePr>
          <p:nvPr>
            <p:extLst>
              <p:ext uri="{D42A27DB-BD31-4B8C-83A1-F6EECF244321}">
                <p14:modId xmlns:p14="http://schemas.microsoft.com/office/powerpoint/2010/main" val="3941283737"/>
              </p:ext>
            </p:extLst>
          </p:nvPr>
        </p:nvGraphicFramePr>
        <p:xfrm>
          <a:off x="4252207" y="1226902"/>
          <a:ext cx="3449007" cy="4424669"/>
        </p:xfrm>
        <a:graphic>
          <a:graphicData uri="http://schemas.openxmlformats.org/drawingml/2006/table">
            <a:tbl>
              <a:tblPr/>
              <a:tblGrid>
                <a:gridCol w="997887">
                  <a:extLst>
                    <a:ext uri="{9D8B030D-6E8A-4147-A177-3AD203B41FA5}">
                      <a16:colId xmlns:a16="http://schemas.microsoft.com/office/drawing/2014/main" val="2494793843"/>
                    </a:ext>
                  </a:extLst>
                </a:gridCol>
                <a:gridCol w="647272">
                  <a:extLst>
                    <a:ext uri="{9D8B030D-6E8A-4147-A177-3AD203B41FA5}">
                      <a16:colId xmlns:a16="http://schemas.microsoft.com/office/drawing/2014/main" val="4044605515"/>
                    </a:ext>
                  </a:extLst>
                </a:gridCol>
                <a:gridCol w="513708">
                  <a:extLst>
                    <a:ext uri="{9D8B030D-6E8A-4147-A177-3AD203B41FA5}">
                      <a16:colId xmlns:a16="http://schemas.microsoft.com/office/drawing/2014/main" val="1180465013"/>
                    </a:ext>
                  </a:extLst>
                </a:gridCol>
                <a:gridCol w="584135">
                  <a:extLst>
                    <a:ext uri="{9D8B030D-6E8A-4147-A177-3AD203B41FA5}">
                      <a16:colId xmlns:a16="http://schemas.microsoft.com/office/drawing/2014/main" val="1023326536"/>
                    </a:ext>
                  </a:extLst>
                </a:gridCol>
                <a:gridCol w="706005">
                  <a:extLst>
                    <a:ext uri="{9D8B030D-6E8A-4147-A177-3AD203B41FA5}">
                      <a16:colId xmlns:a16="http://schemas.microsoft.com/office/drawing/2014/main" val="1025439595"/>
                    </a:ext>
                  </a:extLst>
                </a:gridCol>
              </a:tblGrid>
              <a:tr h="684812">
                <a:tc>
                  <a:txBody>
                    <a:bodyPr/>
                    <a:lstStyle/>
                    <a:p>
                      <a:pPr algn="l" fontAlgn="auto"/>
                      <a:r>
                        <a:rPr lang="nl-NL" sz="900" b="1" i="0" u="none" strike="noStrike">
                          <a:solidFill>
                            <a:srgbClr val="FFFFFF"/>
                          </a:solidFill>
                          <a:effectLst/>
                          <a:latin typeface="Calibri" panose="020F0502020204030204" pitchFamily="34" charset="0"/>
                        </a:rPr>
                        <a:t>​</a:t>
                      </a:r>
                    </a:p>
                    <a:p>
                      <a:pPr algn="l" fontAlgn="base"/>
                      <a:r>
                        <a:rPr lang="nl-NL" sz="900" b="1" i="0" u="none" strike="noStrike">
                          <a:solidFill>
                            <a:srgbClr val="FFFFFF"/>
                          </a:solidFill>
                          <a:effectLst/>
                          <a:latin typeface="Calibri" panose="020F0502020204030204" pitchFamily="34" charset="0"/>
                        </a:rPr>
                        <a:t>Leeftijdscategorie</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FFFFFF"/>
                          </a:solidFill>
                          <a:effectLst/>
                          <a:latin typeface="Calibri" panose="020F0502020204030204" pitchFamily="34" charset="0"/>
                        </a:rPr>
                        <a:t>​</a:t>
                      </a:r>
                    </a:p>
                    <a:p>
                      <a:pPr algn="r" fontAlgn="base"/>
                      <a:r>
                        <a:rPr lang="nl-NL" sz="900" b="1" i="0" u="none" strike="noStrike">
                          <a:solidFill>
                            <a:srgbClr val="FFFFFF"/>
                          </a:solidFill>
                          <a:effectLst/>
                          <a:latin typeface="Calibri" panose="020F0502020204030204" pitchFamily="34" charset="0"/>
                        </a:rPr>
                        <a:t>2020</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FFFFFF"/>
                          </a:solidFill>
                          <a:effectLst/>
                          <a:latin typeface="Calibri" panose="020F0502020204030204" pitchFamily="34" charset="0"/>
                        </a:rPr>
                        <a:t>​</a:t>
                      </a:r>
                    </a:p>
                    <a:p>
                      <a:pPr algn="r" fontAlgn="base"/>
                      <a:r>
                        <a:rPr lang="nl-NL" sz="900" b="1" i="0" u="none" strike="noStrike">
                          <a:solidFill>
                            <a:srgbClr val="FFFFFF"/>
                          </a:solidFill>
                          <a:effectLst/>
                          <a:latin typeface="Calibri" panose="020F0502020204030204" pitchFamily="34" charset="0"/>
                        </a:rPr>
                        <a:t>2021</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FFFFFF"/>
                          </a:solidFill>
                          <a:effectLst/>
                          <a:latin typeface="Calibri" panose="020F0502020204030204" pitchFamily="34" charset="0"/>
                        </a:rPr>
                        <a:t>​</a:t>
                      </a:r>
                    </a:p>
                    <a:p>
                      <a:pPr algn="r" fontAlgn="base"/>
                      <a:r>
                        <a:rPr lang="nl-NL" sz="900" b="1" i="0" u="none" strike="noStrike">
                          <a:solidFill>
                            <a:srgbClr val="FFFFFF"/>
                          </a:solidFill>
                          <a:effectLst/>
                          <a:latin typeface="Calibri" panose="020F0502020204030204" pitchFamily="34" charset="0"/>
                        </a:rPr>
                        <a:t>2022</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333333"/>
                          </a:solidFill>
                          <a:effectLst/>
                          <a:latin typeface="Calibri" panose="020F0502020204030204" pitchFamily="34" charset="0"/>
                        </a:rPr>
                        <a:t>​</a:t>
                      </a:r>
                    </a:p>
                    <a:p>
                      <a:pPr algn="r" fontAlgn="base"/>
                      <a:r>
                        <a:rPr lang="nl-NL" sz="900" b="1" i="0" u="none" strike="noStrike">
                          <a:solidFill>
                            <a:srgbClr val="333333"/>
                          </a:solidFill>
                          <a:effectLst/>
                          <a:latin typeface="Calibri" panose="020F0502020204030204" pitchFamily="34" charset="0"/>
                        </a:rPr>
                        <a:t>2023</a:t>
                      </a:r>
                      <a:r>
                        <a:rPr lang="nl-NL" sz="900" b="1" i="0">
                          <a:solidFill>
                            <a:srgbClr val="333333"/>
                          </a:solidFill>
                          <a:effectLst/>
                          <a:latin typeface="Calibri" panose="020F0502020204030204" pitchFamily="34" charset="0"/>
                        </a:rPr>
                        <a:t>​</a:t>
                      </a:r>
                      <a:endParaRPr lang="nl-NL" sz="900" b="1" i="0">
                        <a:solidFill>
                          <a:srgbClr val="FFFFFF"/>
                        </a:solidFill>
                        <a:effectLst/>
                      </a:endParaRPr>
                    </a:p>
                    <a:p>
                      <a:pPr algn="r" fontAlgn="base"/>
                      <a:r>
                        <a:rPr lang="nl-NL" sz="900" b="1" i="0">
                          <a:solidFill>
                            <a:srgbClr val="333333"/>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ED100"/>
                    </a:solidFill>
                  </a:tcPr>
                </a:tc>
                <a:extLst>
                  <a:ext uri="{0D108BD9-81ED-4DB2-BD59-A6C34878D82A}">
                    <a16:rowId xmlns:a16="http://schemas.microsoft.com/office/drawing/2014/main" val="1508440905"/>
                  </a:ext>
                </a:extLst>
              </a:tr>
              <a:tr h="339987">
                <a:tc>
                  <a:txBody>
                    <a:bodyPr/>
                    <a:lstStyle/>
                    <a:p>
                      <a:pPr algn="l" fontAlgn="base"/>
                      <a:r>
                        <a:rPr lang="nl-NL" sz="900" b="0" i="0" u="none" strike="noStrike">
                          <a:solidFill>
                            <a:srgbClr val="000000"/>
                          </a:solidFill>
                          <a:effectLst/>
                          <a:latin typeface="Calibri" panose="020F0502020204030204" pitchFamily="34" charset="0"/>
                        </a:rPr>
                        <a:t>15 t/m 2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0,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3,3%</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19827749"/>
                  </a:ext>
                </a:extLst>
              </a:tr>
              <a:tr h="339987">
                <a:tc>
                  <a:txBody>
                    <a:bodyPr/>
                    <a:lstStyle/>
                    <a:p>
                      <a:pPr algn="l" fontAlgn="base"/>
                      <a:r>
                        <a:rPr lang="nl-NL" sz="900" b="0" i="0" u="none" strike="noStrike">
                          <a:solidFill>
                            <a:srgbClr val="000000"/>
                          </a:solidFill>
                          <a:effectLst/>
                          <a:latin typeface="Calibri" panose="020F0502020204030204" pitchFamily="34" charset="0"/>
                        </a:rPr>
                        <a:t>25 t/m 2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3,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4,2%</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4,2%</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39180051"/>
                  </a:ext>
                </a:extLst>
              </a:tr>
              <a:tr h="339987">
                <a:tc>
                  <a:txBody>
                    <a:bodyPr/>
                    <a:lstStyle/>
                    <a:p>
                      <a:pPr algn="l" fontAlgn="base"/>
                      <a:r>
                        <a:rPr lang="nl-NL" sz="900" b="0" i="0" u="none" strike="noStrike">
                          <a:solidFill>
                            <a:srgbClr val="000000"/>
                          </a:solidFill>
                          <a:effectLst/>
                          <a:latin typeface="Calibri" panose="020F0502020204030204" pitchFamily="34" charset="0"/>
                        </a:rPr>
                        <a:t>30 t/m 3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3,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333333"/>
                          </a:solidFill>
                          <a:effectLst/>
                          <a:latin typeface="Calibri" panose="020F0502020204030204" pitchFamily="34" charset="0"/>
                        </a:rPr>
                        <a:t>6,0%</a:t>
                      </a:r>
                      <a:r>
                        <a:rPr lang="nl-NL" sz="900" b="0" i="0">
                          <a:solidFill>
                            <a:srgbClr val="333333"/>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920239559"/>
                  </a:ext>
                </a:extLst>
              </a:tr>
              <a:tr h="339987">
                <a:tc>
                  <a:txBody>
                    <a:bodyPr/>
                    <a:lstStyle/>
                    <a:p>
                      <a:pPr algn="l" fontAlgn="base"/>
                      <a:r>
                        <a:rPr lang="nl-NL" sz="900" b="0" i="0" u="none" strike="noStrike">
                          <a:solidFill>
                            <a:srgbClr val="000000"/>
                          </a:solidFill>
                          <a:effectLst/>
                          <a:latin typeface="Calibri" panose="020F0502020204030204" pitchFamily="34" charset="0"/>
                        </a:rPr>
                        <a:t>35 t/m 3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5%</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2%</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6,5%</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369471707"/>
                  </a:ext>
                </a:extLst>
              </a:tr>
              <a:tr h="339987">
                <a:tc>
                  <a:txBody>
                    <a:bodyPr/>
                    <a:lstStyle/>
                    <a:p>
                      <a:pPr algn="l" fontAlgn="base"/>
                      <a:r>
                        <a:rPr lang="nl-NL" sz="900" b="0" i="0" u="none" strike="noStrike">
                          <a:solidFill>
                            <a:srgbClr val="000000"/>
                          </a:solidFill>
                          <a:effectLst/>
                          <a:latin typeface="Calibri" panose="020F0502020204030204" pitchFamily="34" charset="0"/>
                        </a:rPr>
                        <a:t>40 t/m 4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333333"/>
                          </a:solidFill>
                          <a:effectLst/>
                          <a:latin typeface="Calibri" panose="020F0502020204030204" pitchFamily="34" charset="0"/>
                        </a:rPr>
                        <a:t>5,5%</a:t>
                      </a:r>
                      <a:r>
                        <a:rPr lang="nl-NL" sz="900" b="0" i="0">
                          <a:solidFill>
                            <a:srgbClr val="333333"/>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508145260"/>
                  </a:ext>
                </a:extLst>
              </a:tr>
              <a:tr h="339987">
                <a:tc>
                  <a:txBody>
                    <a:bodyPr/>
                    <a:lstStyle/>
                    <a:p>
                      <a:pPr algn="l" fontAlgn="base"/>
                      <a:r>
                        <a:rPr lang="nl-NL" sz="900" b="0" i="0" u="none" strike="noStrike">
                          <a:solidFill>
                            <a:srgbClr val="000000"/>
                          </a:solidFill>
                          <a:effectLst/>
                          <a:latin typeface="Calibri" panose="020F0502020204030204" pitchFamily="34" charset="0"/>
                        </a:rPr>
                        <a:t>45 t/m 4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3,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306038330"/>
                  </a:ext>
                </a:extLst>
              </a:tr>
              <a:tr h="339987">
                <a:tc>
                  <a:txBody>
                    <a:bodyPr/>
                    <a:lstStyle/>
                    <a:p>
                      <a:pPr algn="l" fontAlgn="base"/>
                      <a:r>
                        <a:rPr lang="nl-NL" sz="900" b="0" i="0" u="none" strike="noStrike">
                          <a:solidFill>
                            <a:srgbClr val="000000"/>
                          </a:solidFill>
                          <a:effectLst/>
                          <a:latin typeface="Calibri" panose="020F0502020204030204" pitchFamily="34" charset="0"/>
                        </a:rPr>
                        <a:t>50 t/m 5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10,2%</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048891120"/>
                  </a:ext>
                </a:extLst>
              </a:tr>
              <a:tr h="339987">
                <a:tc>
                  <a:txBody>
                    <a:bodyPr/>
                    <a:lstStyle/>
                    <a:p>
                      <a:pPr algn="l" fontAlgn="base"/>
                      <a:r>
                        <a:rPr lang="nl-NL" sz="900" b="0" i="0" u="none" strike="noStrike">
                          <a:solidFill>
                            <a:srgbClr val="000000"/>
                          </a:solidFill>
                          <a:effectLst/>
                          <a:latin typeface="Calibri" panose="020F0502020204030204" pitchFamily="34" charset="0"/>
                        </a:rPr>
                        <a:t>55 t/m 5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5%</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5%</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7,6%</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042015255"/>
                  </a:ext>
                </a:extLst>
              </a:tr>
              <a:tr h="339987">
                <a:tc>
                  <a:txBody>
                    <a:bodyPr/>
                    <a:lstStyle/>
                    <a:p>
                      <a:pPr algn="l" fontAlgn="base"/>
                      <a:r>
                        <a:rPr lang="nl-NL" sz="900" b="0" i="0" u="none" strike="noStrike">
                          <a:solidFill>
                            <a:srgbClr val="000000"/>
                          </a:solidFill>
                          <a:effectLst/>
                          <a:latin typeface="Calibri" panose="020F0502020204030204" pitchFamily="34" charset="0"/>
                        </a:rPr>
                        <a:t>60 t/m 6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0,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0,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10,0%</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583527571"/>
                  </a:ext>
                </a:extLst>
              </a:tr>
              <a:tr h="339987">
                <a:tc>
                  <a:txBody>
                    <a:bodyPr/>
                    <a:lstStyle/>
                    <a:p>
                      <a:pPr algn="l" fontAlgn="base"/>
                      <a:r>
                        <a:rPr lang="nl-NL" sz="900" b="0" i="0" u="none" strike="noStrike">
                          <a:solidFill>
                            <a:srgbClr val="000000"/>
                          </a:solidFill>
                          <a:effectLst/>
                          <a:latin typeface="Calibri" panose="020F0502020204030204" pitchFamily="34" charset="0"/>
                        </a:rPr>
                        <a:t>&gt;6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1,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6,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2,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10,7%</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710513553"/>
                  </a:ext>
                </a:extLst>
              </a:tr>
              <a:tr h="339987">
                <a:tc>
                  <a:txBody>
                    <a:bodyPr/>
                    <a:lstStyle/>
                    <a:p>
                      <a:pPr algn="l" fontAlgn="base"/>
                      <a:r>
                        <a:rPr lang="nl-NL" sz="900" b="1" i="0" u="none" strike="noStrike">
                          <a:solidFill>
                            <a:srgbClr val="000000"/>
                          </a:solidFill>
                          <a:effectLst/>
                          <a:latin typeface="Calibri" panose="020F0502020204030204" pitchFamily="34" charset="0"/>
                        </a:rPr>
                        <a:t>Onderwijs</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6,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7,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7,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7,2%</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1227934116"/>
                  </a:ext>
                </a:extLst>
              </a:tr>
            </a:tbl>
          </a:graphicData>
        </a:graphic>
      </p:graphicFrame>
      <p:sp>
        <p:nvSpPr>
          <p:cNvPr id="9" name="Rectangle 2">
            <a:extLst>
              <a:ext uri="{FF2B5EF4-FFF2-40B4-BE49-F238E27FC236}">
                <a16:creationId xmlns:a16="http://schemas.microsoft.com/office/drawing/2014/main" id="{60E29FF8-F3C8-4BF2-4C5A-E912CB1A33F1}"/>
              </a:ext>
            </a:extLst>
          </p:cNvPr>
          <p:cNvSpPr>
            <a:spLocks noChangeArrowheads="1"/>
          </p:cNvSpPr>
          <p:nvPr/>
        </p:nvSpPr>
        <p:spPr bwMode="auto">
          <a:xfrm>
            <a:off x="4905375" y="20018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NL" altLang="nl-N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nl-NL" altLang="nl-N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a:ln>
                <a:noFill/>
              </a:ln>
              <a:solidFill>
                <a:schemeClr val="tx1"/>
              </a:solidFill>
              <a:effectLst/>
              <a:latin typeface="Arial" panose="020B0604020202020204" pitchFamily="34" charset="0"/>
            </a:endParaRPr>
          </a:p>
        </p:txBody>
      </p:sp>
      <p:graphicFrame>
        <p:nvGraphicFramePr>
          <p:cNvPr id="13" name="Tabel 12">
            <a:extLst>
              <a:ext uri="{FF2B5EF4-FFF2-40B4-BE49-F238E27FC236}">
                <a16:creationId xmlns:a16="http://schemas.microsoft.com/office/drawing/2014/main" id="{849A7E41-E718-800C-FA51-F0C7777EE007}"/>
              </a:ext>
            </a:extLst>
          </p:cNvPr>
          <p:cNvGraphicFramePr>
            <a:graphicFrameLocks noGrp="1"/>
          </p:cNvGraphicFramePr>
          <p:nvPr>
            <p:extLst>
              <p:ext uri="{D42A27DB-BD31-4B8C-83A1-F6EECF244321}">
                <p14:modId xmlns:p14="http://schemas.microsoft.com/office/powerpoint/2010/main" val="2302481348"/>
              </p:ext>
            </p:extLst>
          </p:nvPr>
        </p:nvGraphicFramePr>
        <p:xfrm>
          <a:off x="8343486" y="1195963"/>
          <a:ext cx="3015700" cy="4455605"/>
        </p:xfrm>
        <a:graphic>
          <a:graphicData uri="http://schemas.openxmlformats.org/drawingml/2006/table">
            <a:tbl>
              <a:tblPr/>
              <a:tblGrid>
                <a:gridCol w="1123298">
                  <a:extLst>
                    <a:ext uri="{9D8B030D-6E8A-4147-A177-3AD203B41FA5}">
                      <a16:colId xmlns:a16="http://schemas.microsoft.com/office/drawing/2014/main" val="2596987329"/>
                    </a:ext>
                  </a:extLst>
                </a:gridCol>
                <a:gridCol w="425031">
                  <a:extLst>
                    <a:ext uri="{9D8B030D-6E8A-4147-A177-3AD203B41FA5}">
                      <a16:colId xmlns:a16="http://schemas.microsoft.com/office/drawing/2014/main" val="3585199926"/>
                    </a:ext>
                  </a:extLst>
                </a:gridCol>
                <a:gridCol w="425031">
                  <a:extLst>
                    <a:ext uri="{9D8B030D-6E8A-4147-A177-3AD203B41FA5}">
                      <a16:colId xmlns:a16="http://schemas.microsoft.com/office/drawing/2014/main" val="1781410678"/>
                    </a:ext>
                  </a:extLst>
                </a:gridCol>
                <a:gridCol w="425031">
                  <a:extLst>
                    <a:ext uri="{9D8B030D-6E8A-4147-A177-3AD203B41FA5}">
                      <a16:colId xmlns:a16="http://schemas.microsoft.com/office/drawing/2014/main" val="347855266"/>
                    </a:ext>
                  </a:extLst>
                </a:gridCol>
                <a:gridCol w="617309">
                  <a:extLst>
                    <a:ext uri="{9D8B030D-6E8A-4147-A177-3AD203B41FA5}">
                      <a16:colId xmlns:a16="http://schemas.microsoft.com/office/drawing/2014/main" val="2243747827"/>
                    </a:ext>
                  </a:extLst>
                </a:gridCol>
              </a:tblGrid>
              <a:tr h="754655">
                <a:tc>
                  <a:txBody>
                    <a:bodyPr/>
                    <a:lstStyle/>
                    <a:p>
                      <a:pPr algn="l" fontAlgn="auto"/>
                      <a:r>
                        <a:rPr lang="nl-NL" sz="900" b="1" i="0" u="none" strike="noStrike">
                          <a:solidFill>
                            <a:srgbClr val="FFFFFF"/>
                          </a:solidFill>
                          <a:effectLst/>
                          <a:latin typeface="Calibri" panose="020F0502020204030204" pitchFamily="34" charset="0"/>
                        </a:rPr>
                        <a:t>​</a:t>
                      </a:r>
                    </a:p>
                    <a:p>
                      <a:pPr algn="l" fontAlgn="base"/>
                      <a:r>
                        <a:rPr lang="nl-NL" sz="900" b="1" i="0" u="none" strike="noStrike">
                          <a:solidFill>
                            <a:srgbClr val="FFFFFF"/>
                          </a:solidFill>
                          <a:effectLst/>
                          <a:latin typeface="Calibri" panose="020F0502020204030204" pitchFamily="34" charset="0"/>
                        </a:rPr>
                        <a:t>Leeftijdscategorie</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FFFFFF"/>
                          </a:solidFill>
                          <a:effectLst/>
                          <a:latin typeface="Calibri" panose="020F0502020204030204" pitchFamily="34" charset="0"/>
                        </a:rPr>
                        <a:t>​</a:t>
                      </a:r>
                    </a:p>
                    <a:p>
                      <a:pPr algn="r" fontAlgn="base"/>
                      <a:r>
                        <a:rPr lang="nl-NL" sz="900" b="1" i="0" u="none" strike="noStrike">
                          <a:solidFill>
                            <a:srgbClr val="FFFFFF"/>
                          </a:solidFill>
                          <a:effectLst/>
                          <a:latin typeface="Calibri" panose="020F0502020204030204" pitchFamily="34" charset="0"/>
                        </a:rPr>
                        <a:t>2020</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FFFFFF"/>
                          </a:solidFill>
                          <a:effectLst/>
                          <a:latin typeface="Calibri" panose="020F0502020204030204" pitchFamily="34" charset="0"/>
                        </a:rPr>
                        <a:t>​</a:t>
                      </a:r>
                    </a:p>
                    <a:p>
                      <a:pPr algn="r" fontAlgn="base"/>
                      <a:r>
                        <a:rPr lang="nl-NL" sz="900" b="1" i="0" u="none" strike="noStrike">
                          <a:solidFill>
                            <a:srgbClr val="FFFFFF"/>
                          </a:solidFill>
                          <a:effectLst/>
                          <a:latin typeface="Calibri" panose="020F0502020204030204" pitchFamily="34" charset="0"/>
                        </a:rPr>
                        <a:t>2021</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FFFFFF"/>
                          </a:solidFill>
                          <a:effectLst/>
                          <a:latin typeface="Calibri" panose="020F0502020204030204" pitchFamily="34" charset="0"/>
                        </a:rPr>
                        <a:t>​</a:t>
                      </a:r>
                    </a:p>
                    <a:p>
                      <a:pPr algn="r" fontAlgn="base"/>
                      <a:r>
                        <a:rPr lang="nl-NL" sz="900" b="1" i="0" u="none" strike="noStrike">
                          <a:solidFill>
                            <a:srgbClr val="FFFFFF"/>
                          </a:solidFill>
                          <a:effectLst/>
                          <a:latin typeface="Calibri" panose="020F0502020204030204" pitchFamily="34" charset="0"/>
                        </a:rPr>
                        <a:t>2022</a:t>
                      </a:r>
                      <a:r>
                        <a:rPr lang="nl-NL" sz="900" b="1" i="0">
                          <a:solidFill>
                            <a:srgbClr val="FFFFFF"/>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1F4E79"/>
                    </a:solidFill>
                  </a:tcPr>
                </a:tc>
                <a:tc>
                  <a:txBody>
                    <a:bodyPr/>
                    <a:lstStyle/>
                    <a:p>
                      <a:pPr algn="r" fontAlgn="auto"/>
                      <a:r>
                        <a:rPr lang="nl-NL" sz="900" b="1" i="0" u="none" strike="noStrike">
                          <a:solidFill>
                            <a:srgbClr val="333333"/>
                          </a:solidFill>
                          <a:effectLst/>
                          <a:latin typeface="Calibri" panose="020F0502020204030204" pitchFamily="34" charset="0"/>
                        </a:rPr>
                        <a:t>​</a:t>
                      </a:r>
                    </a:p>
                    <a:p>
                      <a:pPr algn="r" fontAlgn="base"/>
                      <a:r>
                        <a:rPr lang="nl-NL" sz="900" b="1" i="0" u="none" strike="noStrike">
                          <a:solidFill>
                            <a:srgbClr val="333333"/>
                          </a:solidFill>
                          <a:effectLst/>
                          <a:latin typeface="Calibri" panose="020F0502020204030204" pitchFamily="34" charset="0"/>
                        </a:rPr>
                        <a:t>2023</a:t>
                      </a:r>
                      <a:r>
                        <a:rPr lang="nl-NL" sz="900" b="1" i="0">
                          <a:solidFill>
                            <a:srgbClr val="333333"/>
                          </a:solidFill>
                          <a:effectLst/>
                          <a:latin typeface="Calibri" panose="020F0502020204030204" pitchFamily="34" charset="0"/>
                        </a:rPr>
                        <a:t>​</a:t>
                      </a:r>
                      <a:endParaRPr lang="nl-NL" sz="900" b="1" i="0">
                        <a:solidFill>
                          <a:srgbClr val="FFFFFF"/>
                        </a:solidFill>
                        <a:effectLst/>
                      </a:endParaRPr>
                    </a:p>
                    <a:p>
                      <a:pPr algn="r" fontAlgn="base"/>
                      <a:r>
                        <a:rPr lang="nl-NL" sz="900" b="1" i="0">
                          <a:solidFill>
                            <a:srgbClr val="333333"/>
                          </a:solidFill>
                          <a:effectLst/>
                          <a:latin typeface="Calibri" panose="020F0502020204030204" pitchFamily="34" charset="0"/>
                        </a:rPr>
                        <a:t>​</a:t>
                      </a:r>
                      <a:endParaRPr lang="nl-NL" sz="900" b="1" i="0">
                        <a:solidFill>
                          <a:srgbClr val="FFFFFF"/>
                        </a:solidFill>
                        <a:effectLst/>
                      </a:endParaRPr>
                    </a:p>
                  </a:txBody>
                  <a:tcPr marL="63022" marR="63022" marT="31511" marB="31511">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ED100"/>
                    </a:solidFill>
                  </a:tcPr>
                </a:tc>
                <a:extLst>
                  <a:ext uri="{0D108BD9-81ED-4DB2-BD59-A6C34878D82A}">
                    <a16:rowId xmlns:a16="http://schemas.microsoft.com/office/drawing/2014/main" val="2858744652"/>
                  </a:ext>
                </a:extLst>
              </a:tr>
              <a:tr h="336450">
                <a:tc>
                  <a:txBody>
                    <a:bodyPr/>
                    <a:lstStyle/>
                    <a:p>
                      <a:pPr algn="l" fontAlgn="base"/>
                      <a:r>
                        <a:rPr lang="nl-NL" sz="900" b="0" i="0" u="none" strike="noStrike">
                          <a:solidFill>
                            <a:srgbClr val="000000"/>
                          </a:solidFill>
                          <a:effectLst/>
                          <a:latin typeface="Calibri" panose="020F0502020204030204" pitchFamily="34" charset="0"/>
                        </a:rPr>
                        <a:t>15 t/m 2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0,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4,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8,9%</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647946783"/>
                  </a:ext>
                </a:extLst>
              </a:tr>
              <a:tr h="336450">
                <a:tc>
                  <a:txBody>
                    <a:bodyPr/>
                    <a:lstStyle/>
                    <a:p>
                      <a:pPr algn="l" fontAlgn="base"/>
                      <a:r>
                        <a:rPr lang="nl-NL" sz="900" b="0" i="0" u="none" strike="noStrike">
                          <a:solidFill>
                            <a:srgbClr val="000000"/>
                          </a:solidFill>
                          <a:effectLst/>
                          <a:latin typeface="Calibri" panose="020F0502020204030204" pitchFamily="34" charset="0"/>
                        </a:rPr>
                        <a:t>25 t/m 2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0,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28878258"/>
                  </a:ext>
                </a:extLst>
              </a:tr>
              <a:tr h="336450">
                <a:tc>
                  <a:txBody>
                    <a:bodyPr/>
                    <a:lstStyle/>
                    <a:p>
                      <a:pPr algn="l" fontAlgn="base"/>
                      <a:r>
                        <a:rPr lang="nl-NL" sz="900" b="0" i="0" u="none" strike="noStrike">
                          <a:solidFill>
                            <a:srgbClr val="000000"/>
                          </a:solidFill>
                          <a:effectLst/>
                          <a:latin typeface="Calibri" panose="020F0502020204030204" pitchFamily="34" charset="0"/>
                        </a:rPr>
                        <a:t>30 t/m 3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8,8%</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122995231"/>
                  </a:ext>
                </a:extLst>
              </a:tr>
              <a:tr h="336450">
                <a:tc>
                  <a:txBody>
                    <a:bodyPr/>
                    <a:lstStyle/>
                    <a:p>
                      <a:pPr algn="l" fontAlgn="base"/>
                      <a:r>
                        <a:rPr lang="nl-NL" sz="900" b="0" i="0" u="none" strike="noStrike">
                          <a:solidFill>
                            <a:srgbClr val="000000"/>
                          </a:solidFill>
                          <a:effectLst/>
                          <a:latin typeface="Calibri" panose="020F0502020204030204" pitchFamily="34" charset="0"/>
                        </a:rPr>
                        <a:t>35 t/m 3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3,3%</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956873110"/>
                  </a:ext>
                </a:extLst>
              </a:tr>
              <a:tr h="336450">
                <a:tc>
                  <a:txBody>
                    <a:bodyPr/>
                    <a:lstStyle/>
                    <a:p>
                      <a:pPr algn="l" fontAlgn="base"/>
                      <a:r>
                        <a:rPr lang="nl-NL" sz="900" b="0" i="0" u="none" strike="noStrike">
                          <a:solidFill>
                            <a:srgbClr val="000000"/>
                          </a:solidFill>
                          <a:effectLst/>
                          <a:latin typeface="Calibri" panose="020F0502020204030204" pitchFamily="34" charset="0"/>
                        </a:rPr>
                        <a:t>40 t/m 4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1%</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4,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6,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2,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330748426"/>
                  </a:ext>
                </a:extLst>
              </a:tr>
              <a:tr h="336450">
                <a:tc>
                  <a:txBody>
                    <a:bodyPr/>
                    <a:lstStyle/>
                    <a:p>
                      <a:pPr algn="l" fontAlgn="base"/>
                      <a:r>
                        <a:rPr lang="nl-NL" sz="900" b="0" i="0" u="none" strike="noStrike">
                          <a:solidFill>
                            <a:srgbClr val="000000"/>
                          </a:solidFill>
                          <a:effectLst/>
                          <a:latin typeface="Calibri" panose="020F0502020204030204" pitchFamily="34" charset="0"/>
                        </a:rPr>
                        <a:t>45 t/m 4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9,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9,2%</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4,5%</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907335260"/>
                  </a:ext>
                </a:extLst>
              </a:tr>
              <a:tr h="336450">
                <a:tc>
                  <a:txBody>
                    <a:bodyPr/>
                    <a:lstStyle/>
                    <a:p>
                      <a:pPr algn="l" fontAlgn="base"/>
                      <a:r>
                        <a:rPr lang="nl-NL" sz="900" b="0" i="0" u="none" strike="noStrike">
                          <a:solidFill>
                            <a:srgbClr val="000000"/>
                          </a:solidFill>
                          <a:effectLst/>
                          <a:latin typeface="Calibri" panose="020F0502020204030204" pitchFamily="34" charset="0"/>
                        </a:rPr>
                        <a:t>50 t/m 5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4,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5,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333333"/>
                          </a:solidFill>
                          <a:effectLst/>
                          <a:latin typeface="Calibri" panose="020F0502020204030204" pitchFamily="34" charset="0"/>
                        </a:rPr>
                        <a:t>5,0%</a:t>
                      </a:r>
                      <a:r>
                        <a:rPr lang="nl-NL" sz="900" b="0" i="0">
                          <a:solidFill>
                            <a:srgbClr val="333333"/>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2264320"/>
                  </a:ext>
                </a:extLst>
              </a:tr>
              <a:tr h="336450">
                <a:tc>
                  <a:txBody>
                    <a:bodyPr/>
                    <a:lstStyle/>
                    <a:p>
                      <a:pPr algn="l" fontAlgn="base"/>
                      <a:r>
                        <a:rPr lang="nl-NL" sz="900" b="0" i="0" u="none" strike="noStrike">
                          <a:solidFill>
                            <a:srgbClr val="000000"/>
                          </a:solidFill>
                          <a:effectLst/>
                          <a:latin typeface="Calibri" panose="020F0502020204030204" pitchFamily="34" charset="0"/>
                        </a:rPr>
                        <a:t>55 t/m 5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9%</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7,8%</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11,3%</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622949585"/>
                  </a:ext>
                </a:extLst>
              </a:tr>
              <a:tr h="336450">
                <a:tc>
                  <a:txBody>
                    <a:bodyPr/>
                    <a:lstStyle/>
                    <a:p>
                      <a:pPr algn="l" fontAlgn="base"/>
                      <a:r>
                        <a:rPr lang="nl-NL" sz="900" b="0" i="0" u="none" strike="noStrike">
                          <a:solidFill>
                            <a:srgbClr val="000000"/>
                          </a:solidFill>
                          <a:effectLst/>
                          <a:latin typeface="Calibri" panose="020F0502020204030204" pitchFamily="34" charset="0"/>
                        </a:rPr>
                        <a:t>60 t/m 6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5%</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1,2%</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10,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8,1%</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140585503"/>
                  </a:ext>
                </a:extLst>
              </a:tr>
              <a:tr h="336450">
                <a:tc>
                  <a:txBody>
                    <a:bodyPr/>
                    <a:lstStyle/>
                    <a:p>
                      <a:pPr algn="l" fontAlgn="base"/>
                      <a:r>
                        <a:rPr lang="nl-NL" sz="900" b="0" i="0" u="none" strike="noStrike">
                          <a:solidFill>
                            <a:srgbClr val="000000"/>
                          </a:solidFill>
                          <a:effectLst/>
                          <a:latin typeface="Calibri" panose="020F0502020204030204" pitchFamily="34" charset="0"/>
                        </a:rPr>
                        <a:t>&gt;6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9,4%</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000000"/>
                          </a:solidFill>
                          <a:effectLst/>
                          <a:latin typeface="Calibri" panose="020F0502020204030204" pitchFamily="34" charset="0"/>
                        </a:rPr>
                        <a:t>8,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tc>
                  <a:txBody>
                    <a:bodyPr/>
                    <a:lstStyle/>
                    <a:p>
                      <a:pPr algn="r" fontAlgn="base"/>
                      <a:r>
                        <a:rPr lang="nl-NL" sz="900" b="0" i="0" u="none" strike="noStrike">
                          <a:solidFill>
                            <a:srgbClr val="FF0000"/>
                          </a:solidFill>
                          <a:effectLst/>
                          <a:latin typeface="Calibri" panose="020F0502020204030204" pitchFamily="34" charset="0"/>
                        </a:rPr>
                        <a:t>13,1%</a:t>
                      </a:r>
                      <a:r>
                        <a:rPr lang="nl-NL" sz="900" b="0" i="0">
                          <a:solidFill>
                            <a:srgbClr val="FF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610299319"/>
                  </a:ext>
                </a:extLst>
              </a:tr>
              <a:tr h="336450">
                <a:tc>
                  <a:txBody>
                    <a:bodyPr/>
                    <a:lstStyle/>
                    <a:p>
                      <a:pPr algn="l" fontAlgn="base"/>
                      <a:r>
                        <a:rPr lang="nl-NL" sz="900" b="1" i="0" u="none" strike="noStrike">
                          <a:solidFill>
                            <a:srgbClr val="000000"/>
                          </a:solidFill>
                          <a:effectLst/>
                          <a:latin typeface="Calibri" panose="020F0502020204030204" pitchFamily="34" charset="0"/>
                        </a:rPr>
                        <a:t>Diensten</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6,7%</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7,0%</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7,6%</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tc>
                  <a:txBody>
                    <a:bodyPr/>
                    <a:lstStyle/>
                    <a:p>
                      <a:pPr algn="r" fontAlgn="base"/>
                      <a:r>
                        <a:rPr lang="nl-NL" sz="900" b="1" i="0" u="none" strike="noStrike">
                          <a:solidFill>
                            <a:srgbClr val="000000"/>
                          </a:solidFill>
                          <a:effectLst/>
                          <a:latin typeface="Calibri" panose="020F0502020204030204" pitchFamily="34" charset="0"/>
                        </a:rPr>
                        <a:t>6,5%</a:t>
                      </a:r>
                      <a:r>
                        <a:rPr lang="nl-NL" sz="900" b="0" i="0">
                          <a:solidFill>
                            <a:srgbClr val="000000"/>
                          </a:solidFill>
                          <a:effectLst/>
                          <a:latin typeface="Calibri" panose="020F0502020204030204" pitchFamily="34" charset="0"/>
                        </a:rPr>
                        <a:t>​</a:t>
                      </a:r>
                      <a:endParaRPr lang="nl-NL" sz="900" b="0" i="0">
                        <a:solidFill>
                          <a:srgbClr val="333333"/>
                        </a:solidFill>
                        <a:effectLst/>
                      </a:endParaRPr>
                    </a:p>
                  </a:txBody>
                  <a:tcPr marL="63022" marR="63022" marT="31511" marB="31511" anchor="ctr">
                    <a:lnL w="17859" cap="flat" cmpd="sng" algn="ctr">
                      <a:solidFill>
                        <a:srgbClr val="FFFFFF"/>
                      </a:solidFill>
                      <a:prstDash val="solid"/>
                      <a:round/>
                      <a:headEnd type="none" w="med" len="med"/>
                      <a:tailEnd type="none" w="med" len="med"/>
                    </a:lnL>
                    <a:lnR w="17859" cap="flat" cmpd="sng" algn="ctr">
                      <a:solidFill>
                        <a:srgbClr val="FFFFFF"/>
                      </a:solidFill>
                      <a:prstDash val="solid"/>
                      <a:round/>
                      <a:headEnd type="none" w="med" len="med"/>
                      <a:tailEnd type="none" w="med" len="med"/>
                    </a:lnR>
                    <a:lnT w="17859" cap="flat" cmpd="sng" algn="ctr">
                      <a:solidFill>
                        <a:srgbClr val="FFFFFF"/>
                      </a:solidFill>
                      <a:prstDash val="solid"/>
                      <a:round/>
                      <a:headEnd type="none" w="med" len="med"/>
                      <a:tailEnd type="none" w="med" len="med"/>
                    </a:lnT>
                    <a:lnB w="17859"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1321992282"/>
                  </a:ext>
                </a:extLst>
              </a:tr>
            </a:tbl>
          </a:graphicData>
        </a:graphic>
      </p:graphicFrame>
      <p:sp>
        <p:nvSpPr>
          <p:cNvPr id="14" name="Rectangle 3">
            <a:extLst>
              <a:ext uri="{FF2B5EF4-FFF2-40B4-BE49-F238E27FC236}">
                <a16:creationId xmlns:a16="http://schemas.microsoft.com/office/drawing/2014/main" id="{C3FA3374-E72A-443A-5E02-947045EEE5FB}"/>
              </a:ext>
            </a:extLst>
          </p:cNvPr>
          <p:cNvSpPr>
            <a:spLocks noChangeArrowheads="1"/>
          </p:cNvSpPr>
          <p:nvPr/>
        </p:nvSpPr>
        <p:spPr bwMode="auto">
          <a:xfrm>
            <a:off x="4905375" y="20018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NL" altLang="nl-N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nl-NL" altLang="nl-N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7832695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798CF0-C641-4135-A462-A58F4682EC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94798CF0-C641-4135-A462-A58F4682E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FBCE4F5-9237-43E7-9A9E-D47852245B69}"/>
              </a:ext>
            </a:extLst>
          </p:cNvPr>
          <p:cNvSpPr>
            <a:spLocks noGrp="1"/>
          </p:cNvSpPr>
          <p:nvPr>
            <p:ph type="title"/>
          </p:nvPr>
        </p:nvSpPr>
        <p:spPr>
          <a:xfrm>
            <a:off x="608069" y="158460"/>
            <a:ext cx="11190484" cy="370639"/>
          </a:xfrm>
        </p:spPr>
        <p:txBody>
          <a:bodyPr vert="horz">
            <a:noAutofit/>
          </a:bodyPr>
          <a:lstStyle/>
          <a:p>
            <a:r>
              <a:rPr lang="nl-NL" sz="3200" dirty="0">
                <a:latin typeface="Calibri" panose="020F0502020204030204" pitchFamily="34" charset="0"/>
                <a:cs typeface="Calibri" panose="020F0502020204030204" pitchFamily="34" charset="0"/>
              </a:rPr>
              <a:t>Interventies  									</a:t>
            </a:r>
            <a:endParaRPr lang="nl-NL" sz="2400" b="0" i="1" dirty="0">
              <a:solidFill>
                <a:srgbClr val="0070C0"/>
              </a:solidFill>
              <a:latin typeface="Calibri" panose="020F0502020204030204" pitchFamily="34" charset="0"/>
              <a:cs typeface="Calibri" panose="020F0502020204030204" pitchFamily="34" charset="0"/>
            </a:endParaRPr>
          </a:p>
        </p:txBody>
      </p:sp>
      <p:sp>
        <p:nvSpPr>
          <p:cNvPr id="7" name="Tijdelijke aanduiding voor dianummer 6">
            <a:extLst>
              <a:ext uri="{FF2B5EF4-FFF2-40B4-BE49-F238E27FC236}">
                <a16:creationId xmlns:a16="http://schemas.microsoft.com/office/drawing/2014/main" id="{19782392-C2A9-4DD1-88CA-4222ADCF2CC9}"/>
              </a:ext>
            </a:extLst>
          </p:cNvPr>
          <p:cNvSpPr>
            <a:spLocks noGrp="1"/>
          </p:cNvSpPr>
          <p:nvPr>
            <p:ph type="sldNum" sz="quarter" idx="16"/>
          </p:nvPr>
        </p:nvSpPr>
        <p:spPr>
          <a:xfrm>
            <a:off x="11573553" y="6601886"/>
            <a:ext cx="450000" cy="174228"/>
          </a:xfrm>
        </p:spPr>
        <p:txBody>
          <a:bodyPr/>
          <a:lstStyle/>
          <a:p>
            <a:fld id="{932C3248-DEA8-4406-A963-9ED55A9DA4F5}" type="slidenum">
              <a:rPr lang="nl-NL" sz="1000" smtClean="0">
                <a:latin typeface="Calibri" panose="020F0502020204030204" pitchFamily="34" charset="0"/>
                <a:cs typeface="Calibri" panose="020F0502020204030204" pitchFamily="34" charset="0"/>
              </a:rPr>
              <a:pPr/>
              <a:t>5</a:t>
            </a:fld>
            <a:endParaRPr lang="nl-NL" sz="1000">
              <a:latin typeface="Calibri" panose="020F0502020204030204" pitchFamily="34" charset="0"/>
              <a:cs typeface="Calibri" panose="020F0502020204030204" pitchFamily="34" charset="0"/>
            </a:endParaRPr>
          </a:p>
        </p:txBody>
      </p:sp>
      <p:sp>
        <p:nvSpPr>
          <p:cNvPr id="24" name="Tijdelijke aanduiding voor inhoud 2">
            <a:extLst>
              <a:ext uri="{FF2B5EF4-FFF2-40B4-BE49-F238E27FC236}">
                <a16:creationId xmlns:a16="http://schemas.microsoft.com/office/drawing/2014/main" id="{6AD113E5-D52B-4E36-A4F2-4093CB3556A9}"/>
              </a:ext>
            </a:extLst>
          </p:cNvPr>
          <p:cNvSpPr txBox="1">
            <a:spLocks/>
          </p:cNvSpPr>
          <p:nvPr/>
        </p:nvSpPr>
        <p:spPr>
          <a:xfrm>
            <a:off x="608069" y="630033"/>
            <a:ext cx="10664540" cy="5870918"/>
          </a:xfrm>
          <a:prstGeom prst="rect">
            <a:avLst/>
          </a:prstGeom>
          <a:solidFill>
            <a:schemeClr val="bg1">
              <a:lumMod val="95000"/>
            </a:schemeClr>
          </a:solidFill>
        </p:spPr>
        <p:txBody>
          <a:bodyPr vert="horz" lIns="0" tIns="0" rIns="0" bIns="0" rtlCol="0" anchor="t">
            <a:noAutofit/>
          </a:bodyPr>
          <a:lstStyle>
            <a:lvl1pPr marL="288000" indent="-288000" algn="l" defTabSz="914400" rtl="0" eaLnBrk="1" latinLnBrk="0" hangingPunct="1">
              <a:lnSpc>
                <a:spcPct val="115000"/>
              </a:lnSpc>
              <a:spcBef>
                <a:spcPts val="0"/>
              </a:spcBef>
              <a:buClr>
                <a:schemeClr val="bg2"/>
              </a:buClr>
              <a:buFont typeface="Wingdings" panose="05000000000000000000" pitchFamily="2" charset="2"/>
              <a:buChar char="§"/>
              <a:defRPr sz="1800" kern="1200">
                <a:solidFill>
                  <a:schemeClr val="tx1"/>
                </a:solidFill>
                <a:latin typeface="+mn-lt"/>
                <a:ea typeface="+mn-ea"/>
                <a:cs typeface="+mn-cs"/>
              </a:defRPr>
            </a:lvl1pPr>
            <a:lvl2pPr marL="576000" indent="-288000" algn="l" defTabSz="914400" rtl="0" eaLnBrk="1" latinLnBrk="0" hangingPunct="1">
              <a:lnSpc>
                <a:spcPct val="115000"/>
              </a:lnSpc>
              <a:spcBef>
                <a:spcPts val="0"/>
              </a:spcBef>
              <a:buClr>
                <a:schemeClr val="bg2"/>
              </a:buClr>
              <a:buFont typeface="Arial" panose="020B0604020202020204" pitchFamily="34" charset="0"/>
              <a:buChar char="›"/>
              <a:defRPr sz="1800" b="0" kern="1200">
                <a:solidFill>
                  <a:schemeClr val="tx1"/>
                </a:solidFill>
                <a:latin typeface="+mn-lt"/>
                <a:ea typeface="+mn-ea"/>
                <a:cs typeface="+mn-cs"/>
              </a:defRPr>
            </a:lvl2pPr>
            <a:lvl3pPr marL="864000" indent="-288000" algn="l" defTabSz="914400" rtl="0" eaLnBrk="1" latinLnBrk="0" hangingPunct="1">
              <a:lnSpc>
                <a:spcPct val="115000"/>
              </a:lnSpc>
              <a:spcBef>
                <a:spcPts val="0"/>
              </a:spcBef>
              <a:buClr>
                <a:schemeClr val="bg2"/>
              </a:buClr>
              <a:buFont typeface="Wingdings" panose="05000000000000000000" pitchFamily="2" charset="2"/>
              <a:buChar char="§"/>
              <a:defRPr sz="1800" b="0" kern="1200">
                <a:solidFill>
                  <a:schemeClr val="tx1"/>
                </a:solidFill>
                <a:latin typeface="+mn-lt"/>
                <a:ea typeface="+mn-ea"/>
                <a:cs typeface="+mn-cs"/>
              </a:defRPr>
            </a:lvl3pPr>
            <a:lvl4pPr marL="0" indent="0" algn="l" defTabSz="914400" rtl="0" eaLnBrk="1" latinLnBrk="0" hangingPunct="1">
              <a:lnSpc>
                <a:spcPct val="115000"/>
              </a:lnSpc>
              <a:spcBef>
                <a:spcPts val="0"/>
              </a:spcBef>
              <a:buClr>
                <a:schemeClr val="accent1"/>
              </a:buClr>
              <a:buFont typeface="Arial" panose="020B0604020202020204" pitchFamily="34" charset="0"/>
              <a:buNone/>
              <a:defRPr sz="1800" b="1" kern="1200">
                <a:solidFill>
                  <a:schemeClr val="bg2"/>
                </a:solidFill>
                <a:latin typeface="+mn-lt"/>
                <a:ea typeface="+mn-ea"/>
                <a:cs typeface="+mn-cs"/>
              </a:defRPr>
            </a:lvl4pPr>
            <a:lvl5pPr marL="0" indent="0" algn="l" defTabSz="914400" rtl="0" eaLnBrk="1" latinLnBrk="0" hangingPunct="1">
              <a:lnSpc>
                <a:spcPct val="115000"/>
              </a:lnSpc>
              <a:spcBef>
                <a:spcPts val="0"/>
              </a:spcBef>
              <a:buClr>
                <a:schemeClr val="accent1"/>
              </a:buClr>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nl-NL" sz="1400" b="0" i="0" dirty="0">
                <a:solidFill>
                  <a:srgbClr val="374151"/>
                </a:solidFill>
                <a:effectLst/>
                <a:latin typeface="Calibri" panose="020F0502020204030204" pitchFamily="34" charset="0"/>
                <a:cs typeface="Calibri" panose="020F0502020204030204" pitchFamily="34" charset="0"/>
              </a:rPr>
              <a:t>Op basis van de rapportage voor het vierde kwartaal bieden we hieronder een overzicht van de interventies die zijn ingezet.</a:t>
            </a:r>
          </a:p>
          <a:p>
            <a:pPr marL="0" indent="0" algn="l">
              <a:buNone/>
            </a:pPr>
            <a:endParaRPr lang="nl-NL" sz="1400" b="0" i="0" dirty="0">
              <a:solidFill>
                <a:srgbClr val="374151"/>
              </a:solidFill>
              <a:effectLst/>
              <a:latin typeface="Calibri" panose="020F0502020204030204" pitchFamily="34" charset="0"/>
              <a:cs typeface="Calibri" panose="020F0502020204030204" pitchFamily="34" charset="0"/>
            </a:endParaRPr>
          </a:p>
          <a:p>
            <a:pPr algn="l"/>
            <a:r>
              <a:rPr lang="nl-NL" sz="1400" b="1" i="0" dirty="0">
                <a:solidFill>
                  <a:srgbClr val="374151"/>
                </a:solidFill>
                <a:effectLst/>
                <a:latin typeface="Calibri" panose="020F0502020204030204" pitchFamily="34" charset="0"/>
                <a:cs typeface="Calibri" panose="020F0502020204030204" pitchFamily="34" charset="0"/>
              </a:rPr>
              <a:t>Frequent verzuim:</a:t>
            </a:r>
            <a:r>
              <a:rPr lang="nl-NL" sz="1400" b="0" i="0" dirty="0">
                <a:solidFill>
                  <a:srgbClr val="374151"/>
                </a:solidFill>
                <a:effectLst/>
                <a:latin typeface="Calibri" panose="020F0502020204030204" pitchFamily="34" charset="0"/>
                <a:cs typeface="Calibri" panose="020F0502020204030204" pitchFamily="34" charset="0"/>
              </a:rPr>
              <a:t> In het afgelopen kwartaal is de workflow voor frequente verzuimgevallen succesvol geïntegreerd in </a:t>
            </a:r>
            <a:r>
              <a:rPr lang="nl-NL" sz="1400" b="0" i="0" dirty="0" err="1">
                <a:solidFill>
                  <a:srgbClr val="374151"/>
                </a:solidFill>
                <a:effectLst/>
                <a:latin typeface="Calibri" panose="020F0502020204030204" pitchFamily="34" charset="0"/>
                <a:cs typeface="Calibri" panose="020F0502020204030204" pitchFamily="34" charset="0"/>
              </a:rPr>
              <a:t>Afas</a:t>
            </a:r>
            <a:r>
              <a:rPr lang="nl-NL" sz="1400" b="0" i="0" dirty="0">
                <a:solidFill>
                  <a:srgbClr val="374151"/>
                </a:solidFill>
                <a:effectLst/>
                <a:latin typeface="Calibri" panose="020F0502020204030204" pitchFamily="34" charset="0"/>
                <a:cs typeface="Calibri" panose="020F0502020204030204" pitchFamily="34" charset="0"/>
              </a:rPr>
              <a:t>/</a:t>
            </a:r>
            <a:r>
              <a:rPr lang="nl-NL" sz="1400" b="0" i="0" dirty="0" err="1">
                <a:solidFill>
                  <a:srgbClr val="374151"/>
                </a:solidFill>
                <a:effectLst/>
                <a:latin typeface="Calibri" panose="020F0502020204030204" pitchFamily="34" charset="0"/>
                <a:cs typeface="Calibri" panose="020F0502020204030204" pitchFamily="34" charset="0"/>
              </a:rPr>
              <a:t>Insite</a:t>
            </a:r>
            <a:r>
              <a:rPr lang="nl-NL" sz="1400" b="0" i="0" dirty="0">
                <a:solidFill>
                  <a:srgbClr val="374151"/>
                </a:solidFill>
                <a:effectLst/>
                <a:latin typeface="Calibri" panose="020F0502020204030204" pitchFamily="34" charset="0"/>
                <a:cs typeface="Calibri" panose="020F0502020204030204" pitchFamily="34" charset="0"/>
              </a:rPr>
              <a:t>. De reacties zijn positief en de verzuimspecialist constateert dat dit leidinggevenden eerder aanzet tot nadenken, waardoor er constructievere gesprekken met de medewerker plaatsvinden. Dit heeft geresulteerd in een verhoogde focus op preventieve maatregelen in de aanpak van verzuim.</a:t>
            </a:r>
          </a:p>
          <a:p>
            <a:pPr marL="0" indent="0" algn="l">
              <a:buNone/>
            </a:pPr>
            <a:endParaRPr lang="nl-NL" sz="1400" b="0" i="0" dirty="0">
              <a:solidFill>
                <a:srgbClr val="374151"/>
              </a:solidFill>
              <a:effectLst/>
              <a:latin typeface="Calibri" panose="020F0502020204030204" pitchFamily="34" charset="0"/>
              <a:cs typeface="Calibri" panose="020F0502020204030204" pitchFamily="34" charset="0"/>
            </a:endParaRPr>
          </a:p>
          <a:p>
            <a:pPr algn="l"/>
            <a:r>
              <a:rPr lang="nl-NL" sz="1400" b="1" i="0" dirty="0">
                <a:solidFill>
                  <a:srgbClr val="374151"/>
                </a:solidFill>
                <a:effectLst/>
                <a:latin typeface="Calibri" panose="020F0502020204030204" pitchFamily="34" charset="0"/>
                <a:cs typeface="Calibri" panose="020F0502020204030204" pitchFamily="34" charset="0"/>
              </a:rPr>
              <a:t>Werkdruk:</a:t>
            </a:r>
            <a:r>
              <a:rPr lang="nl-NL" sz="1400" b="0" i="0" dirty="0">
                <a:solidFill>
                  <a:srgbClr val="374151"/>
                </a:solidFill>
                <a:effectLst/>
                <a:latin typeface="Calibri" panose="020F0502020204030204" pitchFamily="34" charset="0"/>
                <a:cs typeface="Calibri" panose="020F0502020204030204" pitchFamily="34" charset="0"/>
              </a:rPr>
              <a:t> Recentelijk is er een enquête over werkdruk uitgevoerd, en de verkregen resultaten zullen worden geïntegreerd in de werkdrukcoalitie om een plan te ontwikkelen. De vastgestelde werkdruk blijkt met name hoog te zijn in het onderwijs. Door samen met de coalitie gerichte aandacht te besteden aan dit probleem, streven we ernaar de werkdruk te verminderen en daarmee ook het verzuim te laten afnemen.</a:t>
            </a:r>
          </a:p>
          <a:p>
            <a:pPr marL="0" indent="0" algn="l">
              <a:buNone/>
            </a:pPr>
            <a:endParaRPr lang="nl-NL" sz="1400" b="0" i="0" dirty="0">
              <a:solidFill>
                <a:srgbClr val="374151"/>
              </a:solidFill>
              <a:effectLst/>
              <a:latin typeface="Calibri" panose="020F0502020204030204" pitchFamily="34" charset="0"/>
              <a:cs typeface="Calibri" panose="020F0502020204030204" pitchFamily="34" charset="0"/>
            </a:endParaRPr>
          </a:p>
          <a:p>
            <a:pPr algn="l"/>
            <a:r>
              <a:rPr lang="nl-NL" sz="1400" b="1" i="0" dirty="0">
                <a:solidFill>
                  <a:srgbClr val="374151"/>
                </a:solidFill>
                <a:effectLst/>
                <a:latin typeface="Calibri" panose="020F0502020204030204" pitchFamily="34" charset="0"/>
                <a:cs typeface="Calibri" panose="020F0502020204030204" pitchFamily="34" charset="0"/>
              </a:rPr>
              <a:t>Verzuimteam:</a:t>
            </a:r>
            <a:r>
              <a:rPr lang="nl-NL" sz="1400" b="0" i="0" dirty="0">
                <a:solidFill>
                  <a:srgbClr val="374151"/>
                </a:solidFill>
                <a:effectLst/>
                <a:latin typeface="Calibri" panose="020F0502020204030204" pitchFamily="34" charset="0"/>
                <a:cs typeface="Calibri" panose="020F0502020204030204" pitchFamily="34" charset="0"/>
              </a:rPr>
              <a:t> In het afgelopen kwartaal hebben er diverse wijzigingen plaatsgevonden in het verzuimteam. Momenteel zien we positieve resultaten van deze veranderingen. De uitbreiding van de verzuimadministratie zorgt voor een goede afstemming met de bedrijfsarts en zorgt voor meer controle op de ziek- en betermeldingen. Door de verzuimspecialist doelgericht in te zetten, ervaren leidinggevenden meer alertheid en betere ondersteuning, wat zich vertaalt naar meer aandacht voor de medewerkers.</a:t>
            </a:r>
          </a:p>
          <a:p>
            <a:pPr marL="0" indent="0" algn="l">
              <a:buNone/>
            </a:pPr>
            <a:endParaRPr lang="nl-NL" sz="1400" b="0" i="0" dirty="0">
              <a:solidFill>
                <a:srgbClr val="374151"/>
              </a:solidFill>
              <a:effectLst/>
              <a:latin typeface="Calibri" panose="020F0502020204030204" pitchFamily="34" charset="0"/>
              <a:cs typeface="Calibri" panose="020F0502020204030204" pitchFamily="34" charset="0"/>
            </a:endParaRPr>
          </a:p>
          <a:p>
            <a:r>
              <a:rPr lang="nl-NL" sz="1400" b="1" dirty="0">
                <a:solidFill>
                  <a:srgbClr val="374151"/>
                </a:solidFill>
                <a:latin typeface="Calibri" panose="020F0502020204030204" pitchFamily="34" charset="0"/>
                <a:cs typeface="Calibri" panose="020F0502020204030204" pitchFamily="34" charset="0"/>
              </a:rPr>
              <a:t>Zadkine Academie</a:t>
            </a:r>
            <a:r>
              <a:rPr lang="nl-NL" sz="1400" dirty="0">
                <a:solidFill>
                  <a:srgbClr val="374151"/>
                </a:solidFill>
                <a:latin typeface="Calibri" panose="020F0502020204030204" pitchFamily="34" charset="0"/>
                <a:cs typeface="Calibri" panose="020F0502020204030204" pitchFamily="34" charset="0"/>
              </a:rPr>
              <a:t>: </a:t>
            </a:r>
            <a:r>
              <a:rPr lang="nl-NL" sz="1400" b="0" i="0" dirty="0">
                <a:solidFill>
                  <a:srgbClr val="374151"/>
                </a:solidFill>
                <a:effectLst/>
                <a:latin typeface="Calibri" panose="020F0502020204030204" pitchFamily="34" charset="0"/>
                <a:cs typeface="Calibri" panose="020F0502020204030204" pitchFamily="34" charset="0"/>
              </a:rPr>
              <a:t>Binnenkort zullen we binnen HRM een planning maken voor een nieuwe reeks workshops via de Zadkine Academie. Deelnemers van vorig jaar hebben zeer positieve feedback gegeven, vooral met betrekking tot het feit dat ze de opgedane kennis direct in de praktijk kunnen toepassen op basis van onderstaande workshops:</a:t>
            </a:r>
          </a:p>
          <a:p>
            <a:pPr marL="0" indent="0" algn="l">
              <a:buNone/>
            </a:pPr>
            <a:r>
              <a:rPr lang="nl-NL" sz="1400" b="1" dirty="0">
                <a:solidFill>
                  <a:srgbClr val="374151"/>
                </a:solidFill>
                <a:latin typeface="Calibri" panose="020F0502020204030204" pitchFamily="34" charset="0"/>
                <a:cs typeface="Calibri" panose="020F0502020204030204" pitchFamily="34" charset="0"/>
              </a:rPr>
              <a:t>	</a:t>
            </a:r>
            <a:r>
              <a:rPr lang="nl-NL" sz="1400" b="1" i="0" dirty="0">
                <a:solidFill>
                  <a:srgbClr val="374151"/>
                </a:solidFill>
                <a:effectLst/>
                <a:latin typeface="Calibri" panose="020F0502020204030204" pitchFamily="34" charset="0"/>
                <a:cs typeface="Calibri" panose="020F0502020204030204" pitchFamily="34" charset="0"/>
              </a:rPr>
              <a:t>Leiderschap bij Verzuim:</a:t>
            </a:r>
            <a:r>
              <a:rPr lang="nl-NL" sz="1400" b="0" i="0" dirty="0">
                <a:solidFill>
                  <a:srgbClr val="374151"/>
                </a:solidFill>
                <a:effectLst/>
                <a:latin typeface="Calibri" panose="020F0502020204030204" pitchFamily="34" charset="0"/>
                <a:cs typeface="Calibri" panose="020F0502020204030204" pitchFamily="34" charset="0"/>
              </a:rPr>
              <a:t> Trainingen over effectief leiderschap in situaties van verzuim.</a:t>
            </a:r>
          </a:p>
          <a:p>
            <a:pPr marL="0" indent="0" algn="l">
              <a:buNone/>
            </a:pPr>
            <a:r>
              <a:rPr lang="nl-NL" sz="1400" b="1" i="0" dirty="0">
                <a:solidFill>
                  <a:srgbClr val="374151"/>
                </a:solidFill>
                <a:effectLst/>
                <a:latin typeface="Calibri" panose="020F0502020204030204" pitchFamily="34" charset="0"/>
                <a:cs typeface="Calibri" panose="020F0502020204030204" pitchFamily="34" charset="0"/>
              </a:rPr>
              <a:t>	Het Goede Gesprek bij Verzuim:</a:t>
            </a:r>
            <a:r>
              <a:rPr lang="nl-NL" sz="1400" b="0" i="0" dirty="0">
                <a:solidFill>
                  <a:srgbClr val="374151"/>
                </a:solidFill>
                <a:effectLst/>
                <a:latin typeface="Calibri" panose="020F0502020204030204" pitchFamily="34" charset="0"/>
                <a:cs typeface="Calibri" panose="020F0502020204030204" pitchFamily="34" charset="0"/>
              </a:rPr>
              <a:t> Nadruk op het voeren van constructieve gesprekken in verzuimsituaties.</a:t>
            </a:r>
            <a:endParaRPr lang="nl-NL" sz="1400" dirty="0">
              <a:solidFill>
                <a:srgbClr val="374151"/>
              </a:solidFill>
              <a:latin typeface="Calibri" panose="020F0502020204030204" pitchFamily="34" charset="0"/>
              <a:cs typeface="Calibri" panose="020F0502020204030204" pitchFamily="34" charset="0"/>
            </a:endParaRPr>
          </a:p>
          <a:p>
            <a:pPr marL="0" indent="0" algn="l">
              <a:buNone/>
            </a:pPr>
            <a:r>
              <a:rPr lang="nl-NL" sz="1400" b="0" i="0" dirty="0">
                <a:solidFill>
                  <a:srgbClr val="374151"/>
                </a:solidFill>
                <a:effectLst/>
                <a:latin typeface="Calibri" panose="020F0502020204030204" pitchFamily="34" charset="0"/>
                <a:cs typeface="Calibri" panose="020F0502020204030204" pitchFamily="34" charset="0"/>
              </a:rPr>
              <a:t>Daarnaast hebben we naar aanleiding van externe workshops een presentatie gemaakt om te onderzoeken of we deze in de toekomst intern kunnen overdragen, vanuit de HR-adviseur naar de leidinggevenden toe</a:t>
            </a:r>
            <a:r>
              <a:rPr lang="nl-NL" sz="1400" dirty="0">
                <a:solidFill>
                  <a:srgbClr val="374151"/>
                </a:solidFill>
                <a:latin typeface="Calibri" panose="020F0502020204030204" pitchFamily="34" charset="0"/>
                <a:cs typeface="Calibri" panose="020F0502020204030204" pitchFamily="34" charset="0"/>
              </a:rPr>
              <a:t>.</a:t>
            </a:r>
            <a:endParaRPr lang="nl-NL" sz="1400" b="0" dirty="0">
              <a:solidFill>
                <a:srgbClr val="000000"/>
              </a:solidFill>
              <a:effectLst/>
              <a:latin typeface="Calibri" panose="020F0502020204030204" pitchFamily="34" charset="0"/>
              <a:cs typeface="Calibri" panose="020F0502020204030204" pitchFamily="34" charset="0"/>
            </a:endParaRPr>
          </a:p>
          <a:p>
            <a:pPr marL="0" indent="0">
              <a:buNone/>
            </a:pPr>
            <a:endParaRPr lang="nl-NL" sz="1400" b="0" dirty="0">
              <a:solidFill>
                <a:srgbClr val="000000"/>
              </a:solidFill>
              <a:effectLst/>
              <a:latin typeface="Calibri" panose="020F0502020204030204" pitchFamily="34" charset="0"/>
              <a:cs typeface="Calibri" panose="020F0502020204030204" pitchFamily="34" charset="0"/>
            </a:endParaRPr>
          </a:p>
          <a:p>
            <a:pPr marL="287655" indent="-287655"/>
            <a:endParaRPr lang="nl-NL" sz="1400" dirty="0">
              <a:solidFill>
                <a:srgbClr val="000000"/>
              </a:solidFill>
              <a:latin typeface="Calibri" panose="020F0502020204030204" pitchFamily="34" charset="0"/>
              <a:cs typeface="Calibri" panose="020F0502020204030204" pitchFamily="34" charset="0"/>
            </a:endParaRPr>
          </a:p>
          <a:p>
            <a:pPr marL="0" indent="0">
              <a:buNone/>
            </a:pPr>
            <a:endParaRPr lang="nl-NL" sz="1400" dirty="0">
              <a:latin typeface="Calibri" panose="020F0502020204030204" pitchFamily="34" charset="0"/>
              <a:cs typeface="Calibri" panose="020F0502020204030204" pitchFamily="34" charset="0"/>
            </a:endParaRPr>
          </a:p>
          <a:p>
            <a:pPr marL="287655" indent="-287655"/>
            <a:endParaRPr lang="nl-NL" sz="1400" dirty="0">
              <a:latin typeface="Calibri" panose="020F0502020204030204" pitchFamily="34" charset="0"/>
              <a:cs typeface="Calibri" panose="020F0502020204030204" pitchFamily="34" charset="0"/>
            </a:endParaRPr>
          </a:p>
          <a:p>
            <a:pPr marL="287655" indent="-287655"/>
            <a:endParaRPr lang="nl-NL" sz="1400" dirty="0">
              <a:latin typeface="Calibri" panose="020F0502020204030204" pitchFamily="34" charset="0"/>
              <a:cs typeface="Calibri" panose="020F0502020204030204" pitchFamily="34" charset="0"/>
            </a:endParaRPr>
          </a:p>
          <a:p>
            <a:pPr marL="287655" indent="-287655" algn="just"/>
            <a:endParaRPr lang="nl-NL" sz="1400" dirty="0">
              <a:latin typeface="Calibri" panose="020F0502020204030204" pitchFamily="34" charset="0"/>
              <a:cs typeface="Calibri" panose="020F0502020204030204" pitchFamily="34" charset="0"/>
            </a:endParaRPr>
          </a:p>
          <a:p>
            <a:pPr marL="287655" indent="-287655" algn="just"/>
            <a:endParaRPr lang="nl-NL" sz="1400" dirty="0">
              <a:latin typeface="Calibri" panose="020F0502020204030204" pitchFamily="34" charset="0"/>
              <a:cs typeface="Calibri" panose="020F0502020204030204" pitchFamily="34" charset="0"/>
            </a:endParaRPr>
          </a:p>
          <a:p>
            <a:pPr marL="0" indent="0" algn="just">
              <a:buFont typeface="Wingdings" panose="05000000000000000000" pitchFamily="2" charset="2"/>
              <a:buNone/>
            </a:pPr>
            <a:endParaRPr lang="nl-NL" sz="1400" dirty="0">
              <a:latin typeface="Calibri" panose="020F0502020204030204" pitchFamily="34" charset="0"/>
              <a:cs typeface="Calibri" panose="020F0502020204030204" pitchFamily="34" charset="0"/>
            </a:endParaRPr>
          </a:p>
          <a:p>
            <a:pPr marL="287655" indent="-287655" algn="just"/>
            <a:endParaRPr lang="nl-NL" sz="1400" dirty="0">
              <a:solidFill>
                <a:schemeClr val="bg2"/>
              </a:solidFill>
              <a:latin typeface="Calibri" panose="020F0502020204030204" pitchFamily="34" charset="0"/>
              <a:cs typeface="Calibri" panose="020F0502020204030204" pitchFamily="34" charset="0"/>
            </a:endParaRPr>
          </a:p>
          <a:p>
            <a:pPr marL="287655" indent="-287655" algn="just"/>
            <a:endParaRPr lang="nl-NL" sz="14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3804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A0784F-E9AE-49A5-8F2B-4380227FCFDB}"/>
              </a:ext>
            </a:extLst>
          </p:cNvPr>
          <p:cNvSpPr>
            <a:spLocks noGrp="1"/>
          </p:cNvSpPr>
          <p:nvPr>
            <p:ph type="title"/>
          </p:nvPr>
        </p:nvSpPr>
        <p:spPr>
          <a:xfrm>
            <a:off x="612000" y="87086"/>
            <a:ext cx="10969200" cy="524914"/>
          </a:xfrm>
        </p:spPr>
        <p:txBody>
          <a:bodyPr>
            <a:normAutofit/>
          </a:bodyPr>
          <a:lstStyle/>
          <a:p>
            <a:r>
              <a:rPr lang="nl-NL" sz="3200" dirty="0">
                <a:latin typeface="Calibri" panose="020F0502020204030204" pitchFamily="34" charset="0"/>
                <a:cs typeface="Calibri" panose="020F0502020204030204" pitchFamily="34" charset="0"/>
              </a:rPr>
              <a:t>Plan van aanpak 2024</a:t>
            </a:r>
          </a:p>
        </p:txBody>
      </p:sp>
      <p:sp>
        <p:nvSpPr>
          <p:cNvPr id="3" name="Tijdelijke aanduiding voor inhoud 2">
            <a:extLst>
              <a:ext uri="{FF2B5EF4-FFF2-40B4-BE49-F238E27FC236}">
                <a16:creationId xmlns:a16="http://schemas.microsoft.com/office/drawing/2014/main" id="{81013CC8-88A4-4014-ADEF-1EF9C23B7BBE}"/>
              </a:ext>
            </a:extLst>
          </p:cNvPr>
          <p:cNvSpPr>
            <a:spLocks noGrp="1"/>
          </p:cNvSpPr>
          <p:nvPr>
            <p:ph idx="1"/>
          </p:nvPr>
        </p:nvSpPr>
        <p:spPr>
          <a:xfrm>
            <a:off x="611401" y="535981"/>
            <a:ext cx="10969198" cy="6006861"/>
          </a:xfrm>
          <a:solidFill>
            <a:schemeClr val="bg1">
              <a:lumMod val="95000"/>
            </a:schemeClr>
          </a:solidFill>
        </p:spPr>
        <p:txBody>
          <a:bodyPr vert="horz" lIns="0" tIns="0" rIns="0" bIns="0" rtlCol="0" anchor="t">
            <a:noAutofit/>
          </a:bodyPr>
          <a:lstStyle/>
          <a:p>
            <a:pPr marL="0" indent="0">
              <a:lnSpc>
                <a:spcPct val="100000"/>
              </a:lnSpc>
              <a:buNone/>
            </a:pPr>
            <a:r>
              <a:rPr lang="nl-NL" sz="1300" dirty="0">
                <a:solidFill>
                  <a:srgbClr val="374151"/>
                </a:solidFill>
                <a:latin typeface="Calibri" panose="020F0502020204030204" pitchFamily="34" charset="0"/>
                <a:cs typeface="Calibri" panose="020F0502020204030204" pitchFamily="34" charset="0"/>
              </a:rPr>
              <a:t>Naar aanleiding van het jaar 2023 zullen we de volgende initiatieven inzetten voor de komende periode:</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Aanbod Zadkine Academie:</a:t>
            </a:r>
            <a:r>
              <a:rPr lang="nl-NL" sz="1300" dirty="0">
                <a:solidFill>
                  <a:srgbClr val="374151"/>
                </a:solidFill>
                <a:latin typeface="Calibri" panose="020F0502020204030204" pitchFamily="34" charset="0"/>
                <a:cs typeface="Calibri" panose="020F0502020204030204" pitchFamily="34" charset="0"/>
              </a:rPr>
              <a:t> Ons doel is om het aanbod op de academie uit te breiden voor alle medewerkers met diverse workshops, waaronder trainingen zoals "Jouw grenzen bewaken" en "Essenties van projectmatig werken".</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Vitaliteit- en Werkdrukportaal:</a:t>
            </a:r>
            <a:r>
              <a:rPr lang="nl-NL" sz="1300" dirty="0">
                <a:solidFill>
                  <a:srgbClr val="374151"/>
                </a:solidFill>
                <a:latin typeface="Calibri" panose="020F0502020204030204" pitchFamily="34" charset="0"/>
                <a:cs typeface="Calibri" panose="020F0502020204030204" pitchFamily="34" charset="0"/>
              </a:rPr>
              <a:t> We streven ernaar het Vitaliteit- en Werkdrukportaal te verbeteren en actueler en relevanter te maken. Hierdoor willen we medewerkers meer mogelijkheden bieden voor ondersteuning, met name op het gebied van werkdruk en vitaliteit.</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Samen zorgen voor een gezonde werkomgeving: </a:t>
            </a:r>
            <a:r>
              <a:rPr lang="nl-NL" sz="1300" dirty="0">
                <a:solidFill>
                  <a:srgbClr val="374151"/>
                </a:solidFill>
                <a:latin typeface="Calibri" panose="020F0502020204030204" pitchFamily="34" charset="0"/>
                <a:cs typeface="Calibri" panose="020F0502020204030204" pitchFamily="34" charset="0"/>
              </a:rPr>
              <a:t>Het "Verzuimteam" zal leidinggevenden regelmatig informeren over relevant intern en extern nieuws. Daarnaast bieden we persoonlijke en professionele ondersteuning aan medewerkers via leidinggevenden, met het oog op goed werkgeverschap.</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Start voorjaar 2024: </a:t>
            </a:r>
            <a:r>
              <a:rPr lang="nl-NL" sz="1300" dirty="0">
                <a:solidFill>
                  <a:srgbClr val="374151"/>
                </a:solidFill>
                <a:latin typeface="Calibri" panose="020F0502020204030204" pitchFamily="34" charset="0"/>
                <a:cs typeface="Calibri" panose="020F0502020204030204" pitchFamily="34" charset="0"/>
              </a:rPr>
              <a:t>In het voorjaar zullen we onze focus leggen op zowel het medewerker onderzoek als de vitaliteitsweek. Diverse acties zijn al voorbereid.</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Werk gerelateerd verzuim: </a:t>
            </a:r>
            <a:r>
              <a:rPr lang="nl-NL" sz="1300" dirty="0">
                <a:solidFill>
                  <a:srgbClr val="374151"/>
                </a:solidFill>
                <a:latin typeface="Calibri" panose="020F0502020204030204" pitchFamily="34" charset="0"/>
                <a:cs typeface="Calibri" panose="020F0502020204030204" pitchFamily="34" charset="0"/>
              </a:rPr>
              <a:t>In de terugkoppeling van de bedrijfsarts lezen we regelmatig dat het verzuim van medewerkers werk gerelateerd is. Hier zullen we de komende periode extra aandacht aan besteden en een proces voor gaan inrichten. </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Re-integratie activiteiten</a:t>
            </a:r>
            <a:r>
              <a:rPr lang="nl-NL" sz="1300" dirty="0">
                <a:solidFill>
                  <a:srgbClr val="374151"/>
                </a:solidFill>
                <a:latin typeface="Calibri" panose="020F0502020204030204" pitchFamily="34" charset="0"/>
                <a:cs typeface="Calibri" panose="020F0502020204030204" pitchFamily="34" charset="0"/>
              </a:rPr>
              <a:t>: </a:t>
            </a:r>
            <a:r>
              <a:rPr lang="nl-NL" sz="1300" b="0" i="0" dirty="0">
                <a:solidFill>
                  <a:srgbClr val="374151"/>
                </a:solidFill>
                <a:effectLst/>
                <a:latin typeface="Calibri" panose="020F0502020204030204" pitchFamily="34" charset="0"/>
                <a:cs typeface="Calibri" panose="020F0502020204030204" pitchFamily="34" charset="0"/>
              </a:rPr>
              <a:t>Het Verzuimteam zal, in nauwe samenwerking met de adviseurs, de re-integratie van medewerkers intensiever benaderen op aanbeveling van de Bedrijfsarts.</a:t>
            </a: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Afspraak bedrijfsarts: </a:t>
            </a:r>
            <a:r>
              <a:rPr lang="nl-NL" sz="1300" dirty="0">
                <a:solidFill>
                  <a:srgbClr val="374151"/>
                </a:solidFill>
                <a:latin typeface="Calibri" panose="020F0502020204030204" pitchFamily="34" charset="0"/>
                <a:cs typeface="Calibri" panose="020F0502020204030204" pitchFamily="34" charset="0"/>
              </a:rPr>
              <a:t>Veel medewerkers annuleren of komen niet opdagen voor de afspraak met de bedrijfsarts. Hier zullen we het komende jaar extra maatregelen voor gaan treffen.</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Managementcijfers verzuim: </a:t>
            </a:r>
            <a:r>
              <a:rPr lang="nl-NL" sz="1300" dirty="0">
                <a:solidFill>
                  <a:srgbClr val="374151"/>
                </a:solidFill>
                <a:latin typeface="Calibri" panose="020F0502020204030204" pitchFamily="34" charset="0"/>
                <a:cs typeface="Calibri" panose="020F0502020204030204" pitchFamily="34" charset="0"/>
              </a:rPr>
              <a:t>Momenteel wordt er in samenwerking met HR en IT gewerkt aan een dashboard voor managers met verzuimcijfers.</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Aanbesteding arbodienst: </a:t>
            </a:r>
            <a:r>
              <a:rPr lang="nl-NL" sz="1300" dirty="0">
                <a:solidFill>
                  <a:srgbClr val="374151"/>
                </a:solidFill>
                <a:latin typeface="Calibri" panose="020F0502020204030204" pitchFamily="34" charset="0"/>
                <a:cs typeface="Calibri" panose="020F0502020204030204" pitchFamily="34" charset="0"/>
              </a:rPr>
              <a:t>Het gesprek met de Ondernemingsraad over de aanbesteding van Arbo dienstverlening is hervat. We verwachten dat het traject van de aanbesteding in Q1 2024 weer wordt opgepakt, met als doel om met ingang van 1-1-2025 een arbodienstverlener gecontracteerd te hebben.</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r>
              <a:rPr lang="nl-NL" sz="1300" b="1" dirty="0">
                <a:solidFill>
                  <a:srgbClr val="374151"/>
                </a:solidFill>
                <a:latin typeface="Calibri" panose="020F0502020204030204" pitchFamily="34" charset="0"/>
                <a:cs typeface="Calibri" panose="020F0502020204030204" pitchFamily="34" charset="0"/>
              </a:rPr>
              <a:t>Conclusie:</a:t>
            </a:r>
          </a:p>
          <a:p>
            <a:pPr marL="0" indent="0">
              <a:lnSpc>
                <a:spcPct val="100000"/>
              </a:lnSpc>
              <a:buNone/>
            </a:pPr>
            <a:r>
              <a:rPr lang="nl-NL" sz="1300" dirty="0">
                <a:solidFill>
                  <a:srgbClr val="374151"/>
                </a:solidFill>
                <a:latin typeface="Calibri" panose="020F0502020204030204" pitchFamily="34" charset="0"/>
                <a:cs typeface="Calibri" panose="020F0502020204030204" pitchFamily="34" charset="0"/>
              </a:rPr>
              <a:t>Het verzuimcijfer over 2023 is met 7% lager dan vorig jaar, maar nog steeds te hoog. De HR-adviseurs zullen samen met het Verzuimteam nog meer de verbinding met elkaar aangaan, zodat we doelgericht met bovenstaande onderwerpen aan de slag kunnen gaan!</a:t>
            </a: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3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4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4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4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400" dirty="0">
              <a:solidFill>
                <a:srgbClr val="374151"/>
              </a:solidFill>
              <a:latin typeface="Calibri" panose="020F0502020204030204" pitchFamily="34" charset="0"/>
              <a:cs typeface="Calibri" panose="020F0502020204030204" pitchFamily="34" charset="0"/>
            </a:endParaRPr>
          </a:p>
          <a:p>
            <a:pPr marL="0" indent="0">
              <a:lnSpc>
                <a:spcPct val="100000"/>
              </a:lnSpc>
              <a:buNone/>
            </a:pPr>
            <a:endParaRPr lang="nl-NL" sz="1400" dirty="0">
              <a:solidFill>
                <a:srgbClr val="374151"/>
              </a:solidFill>
              <a:latin typeface="Calibri" panose="020F0502020204030204" pitchFamily="34" charset="0"/>
              <a:cs typeface="Calibri" panose="020F0502020204030204" pitchFamily="34" charset="0"/>
            </a:endParaRPr>
          </a:p>
        </p:txBody>
      </p:sp>
      <p:sp>
        <p:nvSpPr>
          <p:cNvPr id="5" name="Tijdelijke aanduiding voor datum 4">
            <a:extLst>
              <a:ext uri="{FF2B5EF4-FFF2-40B4-BE49-F238E27FC236}">
                <a16:creationId xmlns:a16="http://schemas.microsoft.com/office/drawing/2014/main" id="{28F30666-D76D-44AA-AB02-7FB1BA366836}"/>
              </a:ext>
            </a:extLst>
          </p:cNvPr>
          <p:cNvSpPr>
            <a:spLocks noGrp="1"/>
          </p:cNvSpPr>
          <p:nvPr>
            <p:ph type="dt" sz="half" idx="14"/>
          </p:nvPr>
        </p:nvSpPr>
        <p:spPr>
          <a:xfrm>
            <a:off x="10316646" y="6467190"/>
            <a:ext cx="1710000" cy="238125"/>
          </a:xfrm>
        </p:spPr>
        <p:txBody>
          <a:bodyPr/>
          <a:lstStyle/>
          <a:p>
            <a:r>
              <a:rPr lang="nl-NL" sz="1000" dirty="0">
                <a:latin typeface="Calibri" panose="020F0502020204030204" pitchFamily="34" charset="0"/>
                <a:cs typeface="Calibri" panose="020F0502020204030204" pitchFamily="34" charset="0"/>
              </a:rPr>
              <a:t>10</a:t>
            </a:r>
          </a:p>
        </p:txBody>
      </p:sp>
    </p:spTree>
    <p:extLst>
      <p:ext uri="{BB962C8B-B14F-4D97-AF65-F5344CB8AC3E}">
        <p14:creationId xmlns:p14="http://schemas.microsoft.com/office/powerpoint/2010/main" val="436302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adkine">
  <a:themeElements>
    <a:clrScheme name="Zadkine">
      <a:dk1>
        <a:srgbClr val="333333"/>
      </a:dk1>
      <a:lt1>
        <a:sysClr val="window" lastClr="FFFFFF"/>
      </a:lt1>
      <a:dk2>
        <a:srgbClr val="002664"/>
      </a:dk2>
      <a:lt2>
        <a:srgbClr val="D60390"/>
      </a:lt2>
      <a:accent1>
        <a:srgbClr val="FED100"/>
      </a:accent1>
      <a:accent2>
        <a:srgbClr val="92D400"/>
      </a:accent2>
      <a:accent3>
        <a:srgbClr val="FF6E00"/>
      </a:accent3>
      <a:accent4>
        <a:srgbClr val="00A1DE"/>
      </a:accent4>
      <a:accent5>
        <a:srgbClr val="D0103A"/>
      </a:accent5>
      <a:accent6>
        <a:srgbClr val="7C109A"/>
      </a:accent6>
      <a:hlink>
        <a:srgbClr val="D60390"/>
      </a:hlink>
      <a:folHlink>
        <a:srgbClr val="D60390"/>
      </a:folHlink>
    </a:clrScheme>
    <a:fontScheme name="Zadkin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adkine_Presentatie.potx" id="{5ABC4F1E-B24A-4051-AEFB-ED58DF662C4C}" vid="{D4C2452D-43BB-4B8E-95CC-5A51DA6DEBE1}"/>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Zadkin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Zadkine">
      <a:dk1>
        <a:srgbClr val="333333"/>
      </a:dk1>
      <a:lt1>
        <a:sysClr val="window" lastClr="FFFFFF"/>
      </a:lt1>
      <a:dk2>
        <a:srgbClr val="002664"/>
      </a:dk2>
      <a:lt2>
        <a:srgbClr val="FFFFFF"/>
      </a:lt2>
      <a:accent1>
        <a:srgbClr val="D60390"/>
      </a:accent1>
      <a:accent2>
        <a:srgbClr val="002664"/>
      </a:accent2>
      <a:accent3>
        <a:srgbClr val="FED100"/>
      </a:accent3>
      <a:accent4>
        <a:srgbClr val="FF6E00"/>
      </a:accent4>
      <a:accent5>
        <a:srgbClr val="D0103A"/>
      </a:accent5>
      <a:accent6>
        <a:srgbClr val="92D400"/>
      </a:accent6>
      <a:hlink>
        <a:srgbClr val="00A1DE"/>
      </a:hlink>
      <a:folHlink>
        <a:srgbClr val="7C109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507D89157503646BD4B650726BC2A51" ma:contentTypeVersion="6" ma:contentTypeDescription="Een nieuw document maken." ma:contentTypeScope="" ma:versionID="c9dc2f595bb51c3bcf921fa0e89f1bb5">
  <xsd:schema xmlns:xsd="http://www.w3.org/2001/XMLSchema" xmlns:xs="http://www.w3.org/2001/XMLSchema" xmlns:p="http://schemas.microsoft.com/office/2006/metadata/properties" xmlns:ns2="c5a1a8cd-f744-4251-b188-99e8ee81f644" xmlns:ns3="4cadcf0a-70c5-4885-acc8-80fab1fd1016" targetNamespace="http://schemas.microsoft.com/office/2006/metadata/properties" ma:root="true" ma:fieldsID="c4c24a678d1201b02e8e9f5593c03954" ns2:_="" ns3:_="">
    <xsd:import namespace="c5a1a8cd-f744-4251-b188-99e8ee81f644"/>
    <xsd:import namespace="4cadcf0a-70c5-4885-acc8-80fab1fd101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a1a8cd-f744-4251-b188-99e8ee81f6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adcf0a-70c5-4885-acc8-80fab1fd1016"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cadcf0a-70c5-4885-acc8-80fab1fd1016">
      <UserInfo>
        <DisplayName>Jannie Steenbergen</DisplayName>
        <AccountId>25</AccountId>
        <AccountType/>
      </UserInfo>
      <UserInfo>
        <DisplayName>Wagijah Soekandar-Mangoentaroeno</DisplayName>
        <AccountId>58</AccountId>
        <AccountType/>
      </UserInfo>
      <UserInfo>
        <DisplayName>Azra Hamzabegovic</DisplayName>
        <AccountId>144</AccountId>
        <AccountType/>
      </UserInfo>
      <UserInfo>
        <DisplayName>Rosita Havekes</DisplayName>
        <AccountId>16</AccountId>
        <AccountType/>
      </UserInfo>
      <UserInfo>
        <DisplayName>Bianca Kloos</DisplayName>
        <AccountId>35</AccountId>
        <AccountType/>
      </UserInfo>
      <UserInfo>
        <DisplayName>Claudine de Klerck</DisplayName>
        <AccountId>24</AccountId>
        <AccountType/>
      </UserInfo>
      <UserInfo>
        <DisplayName>Neswa Khaoiri</DisplayName>
        <AccountId>161</AccountId>
        <AccountType/>
      </UserInfo>
      <UserInfo>
        <DisplayName>Nikki Spuijbroek</DisplayName>
        <AccountId>134</AccountId>
        <AccountType/>
      </UserInfo>
    </SharedWithUsers>
  </documentManagement>
</p:properties>
</file>

<file path=customXml/itemProps1.xml><?xml version="1.0" encoding="utf-8"?>
<ds:datastoreItem xmlns:ds="http://schemas.openxmlformats.org/officeDocument/2006/customXml" ds:itemID="{EF78BDFE-1270-4C1F-9884-20BC7369CBEF}">
  <ds:schemaRefs>
    <ds:schemaRef ds:uri="http://schemas.microsoft.com/sharepoint/v3/contenttype/forms"/>
  </ds:schemaRefs>
</ds:datastoreItem>
</file>

<file path=customXml/itemProps2.xml><?xml version="1.0" encoding="utf-8"?>
<ds:datastoreItem xmlns:ds="http://schemas.openxmlformats.org/officeDocument/2006/customXml" ds:itemID="{9F60C9DC-5E48-4E98-B65E-31F5C80C4F7D}"/>
</file>

<file path=customXml/itemProps3.xml><?xml version="1.0" encoding="utf-8"?>
<ds:datastoreItem xmlns:ds="http://schemas.openxmlformats.org/officeDocument/2006/customXml" ds:itemID="{38AA9DE2-8520-4982-8EDD-D2C0DF6C89A7}">
  <ds:schemaRefs>
    <ds:schemaRef ds:uri="http://schemas.openxmlformats.org/package/2006/metadata/core-properties"/>
    <ds:schemaRef ds:uri="http://purl.org/dc/elements/1.1/"/>
    <ds:schemaRef ds:uri="http://schemas.microsoft.com/office/2006/metadata/properties"/>
    <ds:schemaRef ds:uri="http://www.w3.org/XML/1998/namespace"/>
    <ds:schemaRef ds:uri="630a8f4c-4736-4921-b689-d7b8a2022f9b"/>
    <ds:schemaRef ds:uri="http://schemas.microsoft.com/office/2006/documentManagement/types"/>
    <ds:schemaRef ds:uri="http://purl.org/dc/dcmitype/"/>
    <ds:schemaRef ds:uri="http://purl.org/dc/terms/"/>
    <ds:schemaRef ds:uri="http://schemas.microsoft.com/office/infopath/2007/PartnerControls"/>
    <ds:schemaRef ds:uri="1e58c6d9-e080-4d21-b06b-29ff546d6861"/>
  </ds:schemaRefs>
</ds:datastoreItem>
</file>

<file path=docProps/app.xml><?xml version="1.0" encoding="utf-8"?>
<Properties xmlns="http://schemas.openxmlformats.org/officeDocument/2006/extended-properties" xmlns:vt="http://schemas.openxmlformats.org/officeDocument/2006/docPropsVTypes">
  <Template>PowerPoint Zadkine Corporate</Template>
  <TotalTime>1441</TotalTime>
  <Words>1621</Words>
  <Application>Microsoft Office PowerPoint</Application>
  <PresentationFormat>Breedbeeld</PresentationFormat>
  <Paragraphs>287</Paragraphs>
  <Slides>6</Slides>
  <Notes>4</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6</vt:i4>
      </vt:variant>
    </vt:vector>
  </HeadingPairs>
  <TitlesOfParts>
    <vt:vector size="13" baseType="lpstr">
      <vt:lpstr>Arial</vt:lpstr>
      <vt:lpstr>Calibri</vt:lpstr>
      <vt:lpstr>Segoe UI</vt:lpstr>
      <vt:lpstr>Times New Roman</vt:lpstr>
      <vt:lpstr>Wingdings</vt:lpstr>
      <vt:lpstr>Zadkine</vt:lpstr>
      <vt:lpstr>think-cell Slide</vt:lpstr>
      <vt:lpstr>Verzuimcijfers</vt:lpstr>
      <vt:lpstr>Verzuim % per jaar      Zadkine        Onderwijs       Diensten     </vt:lpstr>
      <vt:lpstr>Verzuimontwikkeling      </vt:lpstr>
      <vt:lpstr>Verzuim en leeftijd      </vt:lpstr>
      <vt:lpstr>Interventies           </vt:lpstr>
      <vt:lpstr>Plan van aanpak 2024</vt:lpstr>
    </vt:vector>
  </TitlesOfParts>
  <Company>Zadk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uurgroep Werkdruk/ werkgeluk</dc:title>
  <dc:subject>Template voor een PowerPoint presentatie</dc:subject>
  <dc:creator>Hanssens, Heleen</dc:creator>
  <dc:description>v1.0.0</dc:description>
  <cp:lastModifiedBy>Claudine de Klerck</cp:lastModifiedBy>
  <cp:revision>37</cp:revision>
  <cp:lastPrinted>2023-07-03T13:07:07Z</cp:lastPrinted>
  <dcterms:created xsi:type="dcterms:W3CDTF">2021-03-25T11:06:53Z</dcterms:created>
  <dcterms:modified xsi:type="dcterms:W3CDTF">2024-02-13T16:30:43Z</dcterms:modified>
  <cp:category>Huisstij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07D89157503646BD4B650726BC2A51</vt:lpwstr>
  </property>
  <property fmtid="{D5CDD505-2E9C-101B-9397-08002B2CF9AE}" pid="3" name="MSIP_Label_55e46f04-1151-4928-a464-2b4d83efefbb_Enabled">
    <vt:lpwstr>true</vt:lpwstr>
  </property>
  <property fmtid="{D5CDD505-2E9C-101B-9397-08002B2CF9AE}" pid="4" name="MSIP_Label_55e46f04-1151-4928-a464-2b4d83efefbb_SetDate">
    <vt:lpwstr>2021-03-25T11:06:54Z</vt:lpwstr>
  </property>
  <property fmtid="{D5CDD505-2E9C-101B-9397-08002B2CF9AE}" pid="5" name="MSIP_Label_55e46f04-1151-4928-a464-2b4d83efefbb_Method">
    <vt:lpwstr>Standard</vt:lpwstr>
  </property>
  <property fmtid="{D5CDD505-2E9C-101B-9397-08002B2CF9AE}" pid="6" name="MSIP_Label_55e46f04-1151-4928-a464-2b4d83efefbb_Name">
    <vt:lpwstr>General Information</vt:lpwstr>
  </property>
  <property fmtid="{D5CDD505-2E9C-101B-9397-08002B2CF9AE}" pid="7" name="MSIP_Label_55e46f04-1151-4928-a464-2b4d83efefbb_SiteId">
    <vt:lpwstr>52d58be5-69b4-421b-836e-b92dbe0b067d</vt:lpwstr>
  </property>
  <property fmtid="{D5CDD505-2E9C-101B-9397-08002B2CF9AE}" pid="8" name="MSIP_Label_55e46f04-1151-4928-a464-2b4d83efefbb_ActionId">
    <vt:lpwstr>127bed7d-45be-4b2c-a382-42f936e760df</vt:lpwstr>
  </property>
  <property fmtid="{D5CDD505-2E9C-101B-9397-08002B2CF9AE}" pid="9" name="MSIP_Label_55e46f04-1151-4928-a464-2b4d83efefbb_ContentBits">
    <vt:lpwstr>0</vt:lpwstr>
  </property>
  <property fmtid="{D5CDD505-2E9C-101B-9397-08002B2CF9AE}" pid="10" name="MediaServiceImageTags">
    <vt:lpwstr/>
  </property>
  <property fmtid="{D5CDD505-2E9C-101B-9397-08002B2CF9AE}" pid="11" name="Order">
    <vt:r8>1707000</vt:r8>
  </property>
  <property fmtid="{D5CDD505-2E9C-101B-9397-08002B2CF9AE}" pid="12" name="xd_Signature">
    <vt:bool>false</vt:bool>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ies>
</file>